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tiff" ContentType="image/tiff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32"/>
  </p:notesMasterIdLst>
  <p:handoutMasterIdLst>
    <p:handoutMasterId r:id="rId33"/>
  </p:handoutMasterIdLst>
  <p:sldIdLst>
    <p:sldId id="268" r:id="rId2"/>
    <p:sldId id="325" r:id="rId3"/>
    <p:sldId id="269" r:id="rId4"/>
    <p:sldId id="304" r:id="rId5"/>
    <p:sldId id="318" r:id="rId6"/>
    <p:sldId id="305" r:id="rId7"/>
    <p:sldId id="306" r:id="rId8"/>
    <p:sldId id="308" r:id="rId9"/>
    <p:sldId id="311" r:id="rId10"/>
    <p:sldId id="312" r:id="rId11"/>
    <p:sldId id="313" r:id="rId12"/>
    <p:sldId id="314" r:id="rId13"/>
    <p:sldId id="315" r:id="rId14"/>
    <p:sldId id="326" r:id="rId15"/>
    <p:sldId id="274" r:id="rId16"/>
    <p:sldId id="275" r:id="rId17"/>
    <p:sldId id="276" r:id="rId18"/>
    <p:sldId id="277" r:id="rId19"/>
    <p:sldId id="284" r:id="rId20"/>
    <p:sldId id="288" r:id="rId21"/>
    <p:sldId id="279" r:id="rId22"/>
    <p:sldId id="281" r:id="rId23"/>
    <p:sldId id="280" r:id="rId24"/>
    <p:sldId id="299" r:id="rId25"/>
    <p:sldId id="300" r:id="rId26"/>
    <p:sldId id="301" r:id="rId27"/>
    <p:sldId id="302" r:id="rId28"/>
    <p:sldId id="298" r:id="rId29"/>
    <p:sldId id="327" r:id="rId30"/>
    <p:sldId id="324" r:id="rId31"/>
  </p:sldIdLst>
  <p:sldSz cx="9144000" cy="6858000" type="screen4x3"/>
  <p:notesSz cx="6805613" cy="9939338"/>
  <p:defaultTextStyle>
    <a:defPPr>
      <a:defRPr lang="en-US"/>
    </a:defPPr>
    <a:lvl1pPr marL="0" algn="l" defTabSz="91278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394" algn="l" defTabSz="91278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2788" algn="l" defTabSz="91278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69182" algn="l" defTabSz="91278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5577" algn="l" defTabSz="91278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1969" algn="l" defTabSz="91278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38365" algn="l" defTabSz="91278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4758" algn="l" defTabSz="91278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1149" algn="l" defTabSz="91278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00"/>
    <a:srgbClr val="3333CC"/>
    <a:srgbClr val="9900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620"/>
    <p:restoredTop sz="92119" autoAdjust="0"/>
  </p:normalViewPr>
  <p:slideViewPr>
    <p:cSldViewPr>
      <p:cViewPr varScale="1">
        <p:scale>
          <a:sx n="116" d="100"/>
          <a:sy n="116" d="100"/>
        </p:scale>
        <p:origin x="2130" y="1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70" d="100"/>
        <a:sy n="170" d="100"/>
      </p:scale>
      <p:origin x="0" y="1117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4939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367F27-FEEB-4A5C-BAEB-AF260C24B7AA}" type="datetimeFigureOut">
              <a:rPr lang="en-GB" smtClean="0"/>
              <a:t>23/08/2016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0646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4939" y="9440646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9AA26F-E4BD-4254-B248-142A215C904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36196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97B857-620D-411F-A9C4-63A44A3BCDEC}" type="datetimeFigureOut">
              <a:rPr lang="en-GB" smtClean="0"/>
              <a:t>23/08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5700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21186"/>
            <a:ext cx="5444490" cy="447270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0646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39" y="9440646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0D6D01-EAB7-41B9-938B-EB132FF9F01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60334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278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394" algn="l" defTabSz="91278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2788" algn="l" defTabSz="91278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69182" algn="l" defTabSz="91278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5577" algn="l" defTabSz="91278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1969" algn="l" defTabSz="91278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8365" algn="l" defTabSz="91278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4758" algn="l" defTabSz="91278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1149" algn="l" defTabSz="91278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472615" y="5340670"/>
            <a:ext cx="5866689" cy="24653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GB" altLang="en-US" smtClean="0"/>
          </a:p>
        </p:txBody>
      </p:sp>
      <p:sp>
        <p:nvSpPr>
          <p:cNvPr id="5124" name="Slide Number Placeholder 3"/>
          <p:cNvSpPr>
            <a:spLocks noGrp="1"/>
          </p:cNvSpPr>
          <p:nvPr>
            <p:ph type="sldNum" sz="quarter" idx="5"/>
          </p:nvPr>
        </p:nvSpPr>
        <p:spPr bwMode="auto">
          <a:xfrm>
            <a:off x="6260664" y="9557720"/>
            <a:ext cx="78640" cy="18490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727" indent="-285664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2657" indent="-228531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599720" indent="-228531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6783" indent="-228531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3846" indent="-22853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0908" indent="-22853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7971" indent="-22853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5034" indent="-22853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56FE15C5-2831-44AA-A6F6-CAABEF117C2C}" type="slidenum">
              <a:rPr lang="en-GB" altLang="en-US">
                <a:solidFill>
                  <a:srgbClr val="000000"/>
                </a:solidFill>
              </a:rPr>
              <a:pPr eaLnBrk="1" hangingPunct="1"/>
              <a:t>26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87434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72613" y="5340803"/>
            <a:ext cx="5866798" cy="247050"/>
          </a:xfrm>
        </p:spPr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253672" y="9558131"/>
            <a:ext cx="85739" cy="185288"/>
          </a:xfrm>
        </p:spPr>
        <p:txBody>
          <a:bodyPr/>
          <a:lstStyle/>
          <a:p>
            <a:fld id="{E9A362B4-EFE9-43FE-AACE-3307007D002E}" type="slidenum">
              <a:rPr lang="en-GB" smtClean="0">
                <a:solidFill>
                  <a:prstClr val="black"/>
                </a:solidFill>
              </a:rPr>
              <a:pPr/>
              <a:t>28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84924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1E7F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06875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EF7757B-F04F-4364-A497-F73ADB92FC9F}" type="datetime1">
              <a:rPr lang="en-US"/>
              <a:pPr>
                <a:defRPr/>
              </a:pPr>
              <a:t>8/23/2016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-1600200" y="6324600"/>
            <a:ext cx="2133600" cy="365125"/>
          </a:xfrm>
        </p:spPr>
        <p:txBody>
          <a:bodyPr/>
          <a:lstStyle>
            <a:lvl1pPr>
              <a:defRPr sz="14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9F2F585-B692-4616-AE69-C89C5CCD5FF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8854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3" y="993228"/>
            <a:ext cx="8291512" cy="5286991"/>
          </a:xfrm>
        </p:spPr>
        <p:txBody>
          <a:bodyPr/>
          <a:lstStyle>
            <a:lvl1pPr marL="342900" indent="-342900">
              <a:buSzPct val="75000"/>
              <a:buFont typeface="Wingdings" pitchFamily="2" charset="2"/>
              <a:buChar char="S"/>
              <a:defRPr/>
            </a:lvl1pPr>
            <a:lvl2pPr marL="866775" indent="-342900">
              <a:buSzPct val="75000"/>
              <a:buFont typeface="Wingdings" pitchFamily="2" charset="2"/>
              <a:buChar char="S"/>
              <a:defRPr/>
            </a:lvl2pPr>
            <a:lvl3pPr marL="1327150" indent="-342900">
              <a:buSzPct val="75000"/>
              <a:buFont typeface="Wingdings" pitchFamily="2" charset="2"/>
              <a:buChar char="S"/>
              <a:defRPr/>
            </a:lvl3pPr>
            <a:lvl4pPr marL="1778000" indent="-342900">
              <a:buSzPct val="75000"/>
              <a:buFont typeface="Wingdings" pitchFamily="2" charset="2"/>
              <a:buChar char="S"/>
              <a:defRPr/>
            </a:lvl4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439784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3" y="993228"/>
            <a:ext cx="8291512" cy="5286991"/>
          </a:xfrm>
        </p:spPr>
        <p:txBody>
          <a:bodyPr/>
          <a:lstStyle>
            <a:lvl1pPr marL="342900" indent="-342900">
              <a:buSzPct val="75000"/>
              <a:buFont typeface="Wingdings" pitchFamily="2" charset="2"/>
              <a:buChar char="S"/>
              <a:defRPr/>
            </a:lvl1pPr>
            <a:lvl2pPr marL="866775" indent="-342900">
              <a:buSzPct val="75000"/>
              <a:buFont typeface="Wingdings" pitchFamily="2" charset="2"/>
              <a:buChar char="S"/>
              <a:defRPr/>
            </a:lvl2pPr>
            <a:lvl3pPr marL="1327150" indent="-342900">
              <a:buSzPct val="75000"/>
              <a:buFont typeface="Wingdings" pitchFamily="2" charset="2"/>
              <a:buChar char="S"/>
              <a:defRPr/>
            </a:lvl3pPr>
            <a:lvl4pPr marL="1778000" indent="-342900">
              <a:buSzPct val="75000"/>
              <a:buFont typeface="Wingdings" pitchFamily="2" charset="2"/>
              <a:buChar char="S"/>
              <a:defRPr/>
            </a:lvl4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47466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06490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E2543CC-5459-4441-8994-8140C1A6564F}" type="datetimeFigureOut">
              <a:rPr lang="en-US" smtClean="0"/>
              <a:t>8/23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3A1F23F-3883-48D3-9DFA-795C2F594E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84520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9824" y="0"/>
            <a:ext cx="8307791" cy="1238270"/>
          </a:xfrm>
        </p:spPr>
        <p:txBody>
          <a:bodyPr/>
          <a:lstStyle>
            <a:lvl1pPr algn="l">
              <a:defRPr sz="25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539" y="1451549"/>
            <a:ext cx="8291501" cy="3921667"/>
          </a:xfrm>
        </p:spPr>
        <p:txBody>
          <a:bodyPr/>
          <a:lstStyle>
            <a:lvl1pPr marL="331472" indent="-331472">
              <a:buFont typeface="Wingdings" panose="05000000000000000000" pitchFamily="2" charset="2"/>
              <a:buChar char="§"/>
              <a:defRPr sz="21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78539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93336" y="6155388"/>
            <a:ext cx="1778559" cy="7026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bg1"/>
                </a:solidFill>
                <a:latin typeface="Arial Bold"/>
                <a:cs typeface="Arial Bold"/>
              </a:defRPr>
            </a:lvl1pPr>
          </a:lstStyle>
          <a:p>
            <a:r>
              <a:rPr lang="en-US" dirty="0" smtClean="0"/>
              <a:t>Title of the Presentation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75856" y="6165436"/>
            <a:ext cx="4103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7698B45C-09C7-497B-9261-07F290CB2D4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77950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63" y="2907058"/>
            <a:ext cx="7772943" cy="1500322"/>
          </a:xfrm>
        </p:spPr>
        <p:txBody>
          <a:bodyPr anchor="b"/>
          <a:lstStyle>
            <a:lvl1pPr marL="0" indent="0">
              <a:buNone/>
              <a:defRPr sz="1800"/>
            </a:lvl1pPr>
            <a:lvl2pPr marL="388039" indent="0">
              <a:buNone/>
              <a:defRPr sz="1600"/>
            </a:lvl2pPr>
            <a:lvl3pPr marL="776130" indent="0">
              <a:buNone/>
              <a:defRPr sz="1400"/>
            </a:lvl3pPr>
            <a:lvl4pPr marL="1164209" indent="0">
              <a:buNone/>
              <a:defRPr sz="1200"/>
            </a:lvl4pPr>
            <a:lvl5pPr marL="1552277" indent="0">
              <a:buNone/>
              <a:defRPr sz="1200"/>
            </a:lvl5pPr>
            <a:lvl6pPr marL="1940354" indent="0">
              <a:buNone/>
              <a:defRPr sz="1200"/>
            </a:lvl6pPr>
            <a:lvl7pPr marL="2328422" indent="0">
              <a:buNone/>
              <a:defRPr sz="1200"/>
            </a:lvl7pPr>
            <a:lvl8pPr marL="2716488" indent="0">
              <a:buNone/>
              <a:defRPr sz="1200"/>
            </a:lvl8pPr>
            <a:lvl9pPr marL="3104562" indent="0">
              <a:buNone/>
              <a:defRPr sz="12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93336" y="6155388"/>
            <a:ext cx="1778559" cy="7026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bg1"/>
                </a:solidFill>
                <a:latin typeface="Arial Bold"/>
                <a:cs typeface="Arial Bold"/>
              </a:defRPr>
            </a:lvl1pPr>
          </a:lstStyle>
          <a:p>
            <a:r>
              <a:rPr lang="en-US" dirty="0" smtClean="0"/>
              <a:t>Title of the Presentation</a:t>
            </a:r>
            <a:endParaRPr lang="en-US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75856" y="6165436"/>
            <a:ext cx="4103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7698B45C-09C7-497B-9261-07F290CB2D4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94438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93336" y="6155388"/>
            <a:ext cx="1778559" cy="7026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bg1"/>
                </a:solidFill>
                <a:latin typeface="Arial Bold"/>
                <a:cs typeface="Arial Bold"/>
              </a:defRPr>
            </a:lvl1pPr>
          </a:lstStyle>
          <a:p>
            <a:r>
              <a:rPr lang="en-US" dirty="0" smtClean="0"/>
              <a:t>Title of the Present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75856" y="6165436"/>
            <a:ext cx="4103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7698B45C-09C7-497B-9261-07F290CB2D4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96021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542" y="1380815"/>
            <a:ext cx="4080591" cy="4204725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3450" y="1380815"/>
            <a:ext cx="4080591" cy="4204725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93336" y="6155388"/>
            <a:ext cx="1778559" cy="7026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bg1"/>
                </a:solidFill>
                <a:latin typeface="Arial Bold"/>
                <a:cs typeface="Arial Bold"/>
              </a:defRPr>
            </a:lvl1pPr>
          </a:lstStyle>
          <a:p>
            <a:r>
              <a:rPr lang="en-US" dirty="0" smtClean="0"/>
              <a:t>Title of the Presentation</a:t>
            </a:r>
            <a:endParaRPr lang="en-US" dirty="0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75856" y="6165436"/>
            <a:ext cx="4103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7698B45C-09C7-497B-9261-07F290CB2D4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09991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654" y="275017"/>
            <a:ext cx="8229057" cy="114324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474" y="1534880"/>
            <a:ext cx="4039867" cy="639293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388039" indent="0">
              <a:buNone/>
              <a:defRPr sz="1800" b="1"/>
            </a:lvl2pPr>
            <a:lvl3pPr marL="776130" indent="0">
              <a:buNone/>
              <a:defRPr sz="1600" b="1"/>
            </a:lvl3pPr>
            <a:lvl4pPr marL="1164209" indent="0">
              <a:buNone/>
              <a:defRPr sz="1400" b="1"/>
            </a:lvl4pPr>
            <a:lvl5pPr marL="1552277" indent="0">
              <a:buNone/>
              <a:defRPr sz="1400" b="1"/>
            </a:lvl5pPr>
            <a:lvl6pPr marL="1940354" indent="0">
              <a:buNone/>
              <a:defRPr sz="1400" b="1"/>
            </a:lvl6pPr>
            <a:lvl7pPr marL="2328422" indent="0">
              <a:buNone/>
              <a:defRPr sz="1400" b="1"/>
            </a:lvl7pPr>
            <a:lvl8pPr marL="2716488" indent="0">
              <a:buNone/>
              <a:defRPr sz="1400" b="1"/>
            </a:lvl8pPr>
            <a:lvl9pPr marL="3104562" indent="0">
              <a:buNone/>
              <a:defRPr sz="14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474" y="2174175"/>
            <a:ext cx="4039867" cy="3487074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307" y="1534880"/>
            <a:ext cx="4041225" cy="639293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388039" indent="0">
              <a:buNone/>
              <a:defRPr sz="1800" b="1"/>
            </a:lvl2pPr>
            <a:lvl3pPr marL="776130" indent="0">
              <a:buNone/>
              <a:defRPr sz="1600" b="1"/>
            </a:lvl3pPr>
            <a:lvl4pPr marL="1164209" indent="0">
              <a:buNone/>
              <a:defRPr sz="1400" b="1"/>
            </a:lvl4pPr>
            <a:lvl5pPr marL="1552277" indent="0">
              <a:buNone/>
              <a:defRPr sz="1400" b="1"/>
            </a:lvl5pPr>
            <a:lvl6pPr marL="1940354" indent="0">
              <a:buNone/>
              <a:defRPr sz="1400" b="1"/>
            </a:lvl6pPr>
            <a:lvl7pPr marL="2328422" indent="0">
              <a:buNone/>
              <a:defRPr sz="1400" b="1"/>
            </a:lvl7pPr>
            <a:lvl8pPr marL="2716488" indent="0">
              <a:buNone/>
              <a:defRPr sz="1400" b="1"/>
            </a:lvl8pPr>
            <a:lvl9pPr marL="3104562" indent="0">
              <a:buNone/>
              <a:defRPr sz="14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307" y="2174175"/>
            <a:ext cx="4041225" cy="3487074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2" y="6019720"/>
            <a:ext cx="4065931" cy="838280"/>
          </a:xfrm>
          <a:prstGeom prst="rect">
            <a:avLst/>
          </a:prstGeom>
          <a:solidFill>
            <a:srgbClr val="1E7FB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7868" tIns="38934" rIns="77868" bIns="38934" numCol="1" spcCol="0" rtlCol="0" anchor="t" anchorCtr="0" compatLnSpc="1">
            <a:prstTxWarp prst="textNoShape">
              <a:avLst/>
            </a:prstTxWarp>
          </a:bodyPr>
          <a:lstStyle/>
          <a:p>
            <a:pPr defTabSz="888264" rtl="1" fontAlgn="base">
              <a:spcBef>
                <a:spcPct val="0"/>
              </a:spcBef>
              <a:spcAft>
                <a:spcPct val="0"/>
              </a:spcAft>
            </a:pPr>
            <a:endParaRPr lang="en-GB" sz="3400" b="1">
              <a:solidFill>
                <a:srgbClr val="000066"/>
              </a:solidFill>
            </a:endParaRP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693336" y="6155388"/>
            <a:ext cx="1778559" cy="7026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bg1"/>
                </a:solidFill>
                <a:latin typeface="Arial Bold"/>
                <a:cs typeface="Arial Bold"/>
              </a:defRPr>
            </a:lvl1pPr>
          </a:lstStyle>
          <a:p>
            <a:r>
              <a:rPr lang="en-US" dirty="0" smtClean="0"/>
              <a:t>Title of the Presentation</a:t>
            </a:r>
            <a:endParaRPr lang="en-US" dirty="0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75856" y="6165436"/>
            <a:ext cx="4103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7698B45C-09C7-497B-9261-07F290CB2D4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8994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059" y="4800456"/>
            <a:ext cx="5486943" cy="567300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059" y="613376"/>
            <a:ext cx="5486943" cy="4113648"/>
          </a:xfrm>
        </p:spPr>
        <p:txBody>
          <a:bodyPr/>
          <a:lstStyle>
            <a:lvl1pPr marL="0" indent="0">
              <a:buNone/>
              <a:defRPr sz="2800"/>
            </a:lvl1pPr>
            <a:lvl2pPr marL="388039" indent="0">
              <a:buNone/>
              <a:defRPr sz="2500"/>
            </a:lvl2pPr>
            <a:lvl3pPr marL="776130" indent="0">
              <a:buNone/>
              <a:defRPr sz="2100"/>
            </a:lvl3pPr>
            <a:lvl4pPr marL="1164209" indent="0">
              <a:buNone/>
              <a:defRPr sz="1800"/>
            </a:lvl4pPr>
            <a:lvl5pPr marL="1552277" indent="0">
              <a:buNone/>
              <a:defRPr sz="1800"/>
            </a:lvl5pPr>
            <a:lvl6pPr marL="1940354" indent="0">
              <a:buNone/>
              <a:defRPr sz="1800"/>
            </a:lvl6pPr>
            <a:lvl7pPr marL="2328422" indent="0">
              <a:buNone/>
              <a:defRPr sz="1800"/>
            </a:lvl7pPr>
            <a:lvl8pPr marL="2716488" indent="0">
              <a:buNone/>
              <a:defRPr sz="1800"/>
            </a:lvl8pPr>
            <a:lvl9pPr marL="3104562" indent="0">
              <a:buNone/>
              <a:defRPr sz="1800"/>
            </a:lvl9pPr>
          </a:lstStyle>
          <a:p>
            <a:pPr lvl="0"/>
            <a:endParaRPr lang="en-US" noProof="0" smtClean="0"/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93336" y="6155388"/>
            <a:ext cx="1778559" cy="7026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bg1"/>
                </a:solidFill>
                <a:latin typeface="Arial Bold"/>
                <a:cs typeface="Arial Bold"/>
              </a:defRPr>
            </a:lvl1pPr>
          </a:lstStyle>
          <a:p>
            <a:r>
              <a:rPr lang="en-US" dirty="0" smtClean="0"/>
              <a:t>Title of the Presentation</a:t>
            </a:r>
            <a:endParaRPr lang="en-US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75856" y="6165436"/>
            <a:ext cx="4103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7698B45C-09C7-497B-9261-07F290CB2D4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23370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93336" y="6155388"/>
            <a:ext cx="1778559" cy="7026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bg1"/>
                </a:solidFill>
                <a:latin typeface="Arial Bold"/>
                <a:cs typeface="Arial Bold"/>
              </a:defRPr>
            </a:lvl1pPr>
          </a:lstStyle>
          <a:p>
            <a:r>
              <a:rPr lang="en-US" dirty="0" smtClean="0"/>
              <a:t>Title of the Presentation</a:t>
            </a:r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75856" y="6165436"/>
            <a:ext cx="4103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7698B45C-09C7-497B-9261-07F290CB2D4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77977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58000" y="1"/>
            <a:ext cx="2286000" cy="59926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0" y="1"/>
            <a:ext cx="6727682" cy="59926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93336" y="6155388"/>
            <a:ext cx="1778559" cy="7026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bg1"/>
                </a:solidFill>
                <a:latin typeface="Arial Bold"/>
                <a:cs typeface="Arial Bold"/>
              </a:defRPr>
            </a:lvl1pPr>
          </a:lstStyle>
          <a:p>
            <a:r>
              <a:rPr lang="en-US" dirty="0" smtClean="0"/>
              <a:t>Title of the Presentation</a:t>
            </a:r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75856" y="6165436"/>
            <a:ext cx="4103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7698B45C-09C7-497B-9261-07F290CB2D4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78055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tif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47969" y="0"/>
            <a:ext cx="8258922" cy="1238270"/>
          </a:xfrm>
          <a:prstGeom prst="rect">
            <a:avLst/>
          </a:prstGeom>
          <a:noFill/>
          <a:ln>
            <a:noFill/>
          </a:ln>
          <a:effectLst>
            <a:outerShdw dist="17961" dir="2700000" algn="ctr" rotWithShape="0">
              <a:srgbClr val="96CCEE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dirty="0" smtClean="0"/>
              <a:t>Click to edit Master title style</a:t>
            </a: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42539" y="1380815"/>
            <a:ext cx="8291501" cy="4208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dirty="0" smtClean="0"/>
              <a:t>Click to edit Master text styles</a:t>
            </a:r>
          </a:p>
          <a:p>
            <a:pPr lvl="1"/>
            <a:r>
              <a:rPr lang="en-US" altLang="fr-FR" dirty="0" smtClean="0"/>
              <a:t>Second level</a:t>
            </a:r>
          </a:p>
          <a:p>
            <a:pPr lvl="2"/>
            <a:r>
              <a:rPr lang="en-US" altLang="fr-FR" dirty="0" smtClean="0"/>
              <a:t>Third level</a:t>
            </a:r>
          </a:p>
          <a:p>
            <a:pPr lvl="3"/>
            <a:r>
              <a:rPr lang="en-US" altLang="fr-FR" dirty="0" smtClean="0"/>
              <a:t>Fourth level</a:t>
            </a: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3" y="6165304"/>
            <a:ext cx="5652117" cy="720080"/>
          </a:xfrm>
          <a:prstGeom prst="rect">
            <a:avLst/>
          </a:prstGeom>
          <a:solidFill>
            <a:srgbClr val="1E7FB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7868" tIns="38934" rIns="77868" bIns="38934" numCol="1" spcCol="0" rtlCol="0" anchor="t" anchorCtr="0" compatLnSpc="1">
            <a:prstTxWarp prst="textNoShape">
              <a:avLst/>
            </a:prstTxWarp>
          </a:bodyPr>
          <a:lstStyle/>
          <a:p>
            <a:pPr defTabSz="888264" rtl="1" fontAlgn="base">
              <a:spcBef>
                <a:spcPct val="0"/>
              </a:spcBef>
              <a:spcAft>
                <a:spcPct val="0"/>
              </a:spcAft>
            </a:pPr>
            <a:endParaRPr lang="en-GB" sz="3400" b="1">
              <a:solidFill>
                <a:srgbClr val="000066"/>
              </a:solidFill>
            </a:endParaRPr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755576" y="6381328"/>
            <a:ext cx="2448272" cy="4320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bg1"/>
                </a:solidFill>
                <a:latin typeface="Arial Narrow" panose="020B0606020202030204" pitchFamily="34" charset="0"/>
                <a:cs typeface="Arial Bold"/>
              </a:defRPr>
            </a:lvl1pPr>
          </a:lstStyle>
          <a:p>
            <a:r>
              <a:rPr lang="en-US" dirty="0" smtClean="0"/>
              <a:t>Title of the Presentation</a:t>
            </a:r>
            <a:endParaRPr lang="en-US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79512" y="6414789"/>
            <a:ext cx="41030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fld id="{7698B45C-09C7-497B-9261-07F290CB2D4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Picture 5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5976" y="6309320"/>
            <a:ext cx="1113120" cy="4484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29" t="46509" r="50834" b="26746"/>
          <a:stretch/>
        </p:blipFill>
        <p:spPr>
          <a:xfrm>
            <a:off x="5652121" y="5949280"/>
            <a:ext cx="3491879" cy="920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28463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716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717" r:id="rId10"/>
    <p:sldLayoutId id="2147483719" r:id="rId11"/>
    <p:sldLayoutId id="2147483720" r:id="rId12"/>
    <p:sldLayoutId id="2147483723" r:id="rId13"/>
    <p:sldLayoutId id="2147483724" r:id="rId14"/>
  </p:sldLayoutIdLst>
  <p:timing>
    <p:tnLst>
      <p:par>
        <p:cTn id="1" dur="indefinite" restart="never" nodeType="tmRoot"/>
      </p:par>
    </p:tnLst>
  </p:timing>
  <p:hf hdr="0"/>
  <p:txStyles>
    <p:titleStyle>
      <a:lvl1pPr algn="l" defTabSz="880152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0070C0"/>
          </a:solidFill>
          <a:latin typeface="Calibri" panose="020F0502020204030204" pitchFamily="34" charset="0"/>
          <a:ea typeface="Calibri" pitchFamily="34" charset="0"/>
          <a:cs typeface="Calibri" panose="020F0502020204030204" pitchFamily="34" charset="0"/>
        </a:defRPr>
      </a:lvl1pPr>
      <a:lvl2pPr algn="l" defTabSz="880152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000066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defTabSz="880152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000066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defTabSz="880152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000066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defTabSz="880152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000066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388039" algn="ctr" defTabSz="885297" rtl="0" fontAlgn="base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Arial" charset="0"/>
          <a:cs typeface="Arial" charset="0"/>
        </a:defRPr>
      </a:lvl6pPr>
      <a:lvl7pPr marL="776130" algn="ctr" defTabSz="885297" rtl="0" fontAlgn="base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Arial" charset="0"/>
          <a:cs typeface="Arial" charset="0"/>
        </a:defRPr>
      </a:lvl7pPr>
      <a:lvl8pPr marL="1164209" algn="ctr" defTabSz="885297" rtl="0" fontAlgn="base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Arial" charset="0"/>
          <a:cs typeface="Arial" charset="0"/>
        </a:defRPr>
      </a:lvl8pPr>
      <a:lvl9pPr marL="1552277" algn="ctr" defTabSz="885297" rtl="0" fontAlgn="base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Arial" charset="0"/>
          <a:cs typeface="Arial" charset="0"/>
        </a:defRPr>
      </a:lvl9pPr>
    </p:titleStyle>
    <p:bodyStyle>
      <a:lvl1pPr marL="324497" indent="-324497" algn="l" defTabSz="880152" rtl="0" eaLnBrk="0" fontAlgn="base" hangingPunct="0">
        <a:spcBef>
          <a:spcPct val="80000"/>
        </a:spcBef>
        <a:spcAft>
          <a:spcPct val="0"/>
        </a:spcAft>
        <a:buClr>
          <a:srgbClr val="1E7FB8"/>
        </a:buClr>
        <a:buFont typeface="Wingdings" pitchFamily="2" charset="2"/>
        <a:buChar char="§"/>
        <a:defRPr sz="2100">
          <a:solidFill>
            <a:srgbClr val="0070C0"/>
          </a:solidFill>
          <a:latin typeface="Calibri" panose="020F0502020204030204" pitchFamily="34" charset="0"/>
          <a:ea typeface="Calibri" pitchFamily="34" charset="0"/>
          <a:cs typeface="Calibri" panose="020F0502020204030204" pitchFamily="34" charset="0"/>
        </a:defRPr>
      </a:lvl1pPr>
      <a:lvl2pPr marL="774692" indent="-266344" algn="l" defTabSz="880152" rtl="0" eaLnBrk="0" fontAlgn="base" hangingPunct="0">
        <a:spcBef>
          <a:spcPct val="20000"/>
        </a:spcBef>
        <a:spcAft>
          <a:spcPct val="0"/>
        </a:spcAft>
        <a:buClr>
          <a:srgbClr val="1E7FB8"/>
        </a:buClr>
        <a:buFont typeface="Arial" pitchFamily="34" charset="0"/>
        <a:buChar char="–"/>
        <a:defRPr sz="1800">
          <a:solidFill>
            <a:srgbClr val="0070C0"/>
          </a:solidFill>
          <a:latin typeface="Calibri" panose="020F0502020204030204" pitchFamily="34" charset="0"/>
          <a:ea typeface="Calibri" pitchFamily="34" charset="0"/>
          <a:cs typeface="Calibri" panose="020F0502020204030204" pitchFamily="34" charset="0"/>
        </a:defRPr>
      </a:lvl2pPr>
      <a:lvl3pPr marL="1212730" indent="-254174" algn="l" defTabSz="880152" rtl="0" eaLnBrk="0" fontAlgn="base" hangingPunct="0">
        <a:spcBef>
          <a:spcPct val="20000"/>
        </a:spcBef>
        <a:spcAft>
          <a:spcPct val="0"/>
        </a:spcAft>
        <a:buClr>
          <a:srgbClr val="1E7FB8"/>
        </a:buClr>
        <a:buChar char="•"/>
        <a:defRPr>
          <a:solidFill>
            <a:srgbClr val="0070C0"/>
          </a:solidFill>
          <a:latin typeface="Calibri" panose="020F0502020204030204" pitchFamily="34" charset="0"/>
          <a:ea typeface="Calibri" pitchFamily="34" charset="0"/>
          <a:cs typeface="Calibri" panose="020F0502020204030204" pitchFamily="34" charset="0"/>
        </a:defRPr>
      </a:lvl3pPr>
      <a:lvl4pPr marL="1607523" indent="-212266" algn="l" defTabSz="880152" rtl="0" eaLnBrk="0" fontAlgn="base" hangingPunct="0">
        <a:spcBef>
          <a:spcPct val="20000"/>
        </a:spcBef>
        <a:spcAft>
          <a:spcPct val="0"/>
        </a:spcAft>
        <a:buClr>
          <a:srgbClr val="1E7FB8"/>
        </a:buClr>
        <a:buChar char="–"/>
        <a:defRPr>
          <a:solidFill>
            <a:srgbClr val="0070C0"/>
          </a:solidFill>
          <a:latin typeface="Calibri" panose="020F0502020204030204" pitchFamily="34" charset="0"/>
          <a:ea typeface="Calibri" pitchFamily="34" charset="0"/>
          <a:cs typeface="Calibri" panose="020F0502020204030204" pitchFamily="34" charset="0"/>
        </a:defRPr>
      </a:lvl4pPr>
      <a:lvl5pPr marL="1921176" indent="-132495" algn="r" defTabSz="880152" rtl="1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cs typeface="+mn-cs"/>
        </a:defRPr>
      </a:lvl5pPr>
      <a:lvl6pPr marL="2313599" indent="-140140" algn="r" defTabSz="885297" rtl="1" fontAlgn="base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cs typeface="+mn-cs"/>
        </a:defRPr>
      </a:lvl6pPr>
      <a:lvl7pPr marL="2701667" indent="-140140" algn="r" defTabSz="885297" rtl="1" fontAlgn="base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cs typeface="+mn-cs"/>
        </a:defRPr>
      </a:lvl7pPr>
      <a:lvl8pPr marL="3089733" indent="-140140" algn="r" defTabSz="885297" rtl="1" fontAlgn="base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cs typeface="+mn-cs"/>
        </a:defRPr>
      </a:lvl8pPr>
      <a:lvl9pPr marL="3477811" indent="-140140" algn="r" defTabSz="885297" rtl="1" fontAlgn="base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77613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88039" algn="l" defTabSz="77613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76130" algn="l" defTabSz="77613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64209" algn="l" defTabSz="77613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52277" algn="l" defTabSz="77613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940354" algn="l" defTabSz="77613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28422" algn="l" defTabSz="77613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716488" algn="l" defTabSz="77613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104562" algn="l" defTabSz="77613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3.xml"/><Relationship Id="rId7" Type="http://schemas.openxmlformats.org/officeDocument/2006/relationships/image" Target="../media/image10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12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tags" Target="../tags/tag5.xml"/><Relationship Id="rId7" Type="http://schemas.openxmlformats.org/officeDocument/2006/relationships/oleObject" Target="../embeddings/oleObject1.bin"/><Relationship Id="rId2" Type="http://schemas.openxmlformats.org/officeDocument/2006/relationships/tags" Target="../tags/tag4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5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28600" y="1371600"/>
            <a:ext cx="876300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200" b="1" dirty="0" smtClean="0">
                <a:solidFill>
                  <a:schemeClr val="bg1"/>
                </a:solidFill>
              </a:rPr>
              <a:t>Public health events in the WHO </a:t>
            </a:r>
            <a:r>
              <a:rPr lang="en-US" sz="3200" b="1" dirty="0">
                <a:solidFill>
                  <a:schemeClr val="bg1"/>
                </a:solidFill>
              </a:rPr>
              <a:t>Africa </a:t>
            </a:r>
            <a:r>
              <a:rPr lang="en-US" sz="3200" b="1" dirty="0" smtClean="0">
                <a:solidFill>
                  <a:schemeClr val="bg1"/>
                </a:solidFill>
              </a:rPr>
              <a:t>Region</a:t>
            </a:r>
            <a:endParaRPr lang="en-US" sz="3200" b="1" dirty="0">
              <a:solidFill>
                <a:schemeClr val="bg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043608" y="5080882"/>
            <a:ext cx="446449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WHO Emergency Programme, WHO Regional Office for Africa, Brazzaville, Congo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99592" y="3212976"/>
            <a:ext cx="72728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PRC Briefing on Outbreaks and Communicable Diseases, 16 August 2016, Addis Ababa</a:t>
            </a:r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50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9824" y="116632"/>
            <a:ext cx="8307791" cy="648072"/>
          </a:xfrm>
        </p:spPr>
        <p:txBody>
          <a:bodyPr/>
          <a:lstStyle/>
          <a:p>
            <a:pPr algn="ctr">
              <a:spcBef>
                <a:spcPct val="80000"/>
              </a:spcBef>
              <a:buClr>
                <a:srgbClr val="1E7FB8"/>
              </a:buClr>
            </a:pPr>
            <a:r>
              <a:rPr lang="en-US" sz="3200" kern="12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holera Respon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5725" y="828676"/>
            <a:ext cx="8953500" cy="5451544"/>
          </a:xfrm>
        </p:spPr>
        <p:txBody>
          <a:bodyPr/>
          <a:lstStyle/>
          <a:p>
            <a:r>
              <a:rPr lang="en-US" sz="2200" dirty="0" smtClean="0">
                <a:latin typeface="Arial" panose="020B0604020202020204" pitchFamily="34" charset="0"/>
                <a:cs typeface="Arial" panose="020B0604020202020204" pitchFamily="34" charset="0"/>
              </a:rPr>
              <a:t>WHO and partners provide support to Ministries of Health in areas of;</a:t>
            </a:r>
          </a:p>
          <a:p>
            <a:pPr lvl="1"/>
            <a:r>
              <a:rPr lang="en-US" sz="2200" dirty="0" smtClean="0">
                <a:latin typeface="Arial" panose="020B0604020202020204" pitchFamily="34" charset="0"/>
                <a:cs typeface="Arial" panose="020B0604020202020204" pitchFamily="34" charset="0"/>
              </a:rPr>
              <a:t>Coordination</a:t>
            </a:r>
          </a:p>
          <a:p>
            <a:pPr lvl="1"/>
            <a:r>
              <a:rPr lang="en-US" sz="2200" dirty="0" smtClean="0">
                <a:latin typeface="Arial" panose="020B0604020202020204" pitchFamily="34" charset="0"/>
                <a:cs typeface="Arial" panose="020B0604020202020204" pitchFamily="34" charset="0"/>
              </a:rPr>
              <a:t>Surveillance including laboratory service</a:t>
            </a:r>
          </a:p>
          <a:p>
            <a:pPr lvl="1"/>
            <a:r>
              <a:rPr lang="en-US" sz="2200" dirty="0" smtClean="0">
                <a:latin typeface="Arial" panose="020B0604020202020204" pitchFamily="34" charset="0"/>
                <a:cs typeface="Arial" panose="020B0604020202020204" pitchFamily="34" charset="0"/>
              </a:rPr>
              <a:t>Case management</a:t>
            </a:r>
          </a:p>
          <a:p>
            <a:pPr lvl="1"/>
            <a:r>
              <a:rPr lang="en-US" sz="2200" dirty="0" smtClean="0">
                <a:latin typeface="Arial" panose="020B0604020202020204" pitchFamily="34" charset="0"/>
                <a:cs typeface="Arial" panose="020B0604020202020204" pitchFamily="34" charset="0"/>
              </a:rPr>
              <a:t>Logistics and supplies</a:t>
            </a:r>
          </a:p>
          <a:p>
            <a:pPr lvl="1"/>
            <a:r>
              <a:rPr lang="en-US" sz="2200" dirty="0" smtClean="0">
                <a:latin typeface="Arial" panose="020B0604020202020204" pitchFamily="34" charset="0"/>
                <a:cs typeface="Arial" panose="020B0604020202020204" pitchFamily="34" charset="0"/>
              </a:rPr>
              <a:t>WASH and social mobilization</a:t>
            </a:r>
          </a:p>
          <a:p>
            <a:pPr marL="342900" lvl="1">
              <a:spcBef>
                <a:spcPct val="80000"/>
              </a:spcBef>
            </a:pPr>
            <a:r>
              <a:rPr lang="en-US" sz="22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mphasis on multi-</a:t>
            </a:r>
            <a:r>
              <a:rPr lang="en-US" sz="2200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ctoral</a:t>
            </a:r>
            <a:r>
              <a:rPr lang="en-US" sz="22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2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d multi-agency approach to effectively address </a:t>
            </a:r>
            <a:r>
              <a:rPr lang="en-US" sz="22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uses of cholera outbreaks, often linked to;</a:t>
            </a:r>
            <a:endParaRPr lang="en-US" sz="220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1"/>
            <a:r>
              <a:rPr lang="en-US" sz="2200" dirty="0" smtClean="0">
                <a:latin typeface="Arial" panose="020B0604020202020204" pitchFamily="34" charset="0"/>
                <a:cs typeface="Arial" panose="020B0604020202020204" pitchFamily="34" charset="0"/>
              </a:rPr>
              <a:t>Unsafe water, Poor food hygiene, Poor sanitation</a:t>
            </a:r>
          </a:p>
          <a:p>
            <a:pPr marL="342900" lvl="1">
              <a:spcBef>
                <a:spcPct val="80000"/>
              </a:spcBef>
            </a:pPr>
            <a:r>
              <a:rPr lang="en-US" sz="2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verall decline in trends in a number of countries including Mozambique, Malawi, Zambia, Tanzania. These gains need to be </a:t>
            </a:r>
            <a:r>
              <a:rPr lang="en-US" sz="22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stained</a:t>
            </a:r>
            <a:endParaRPr lang="en-US" sz="220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21128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116632"/>
            <a:ext cx="8307791" cy="576064"/>
          </a:xfrm>
        </p:spPr>
        <p:txBody>
          <a:bodyPr/>
          <a:lstStyle/>
          <a:p>
            <a:pPr algn="ctr">
              <a:spcBef>
                <a:spcPct val="80000"/>
              </a:spcBef>
              <a:buClr>
                <a:srgbClr val="1E7FB8"/>
              </a:buClr>
            </a:pPr>
            <a:r>
              <a:rPr lang="en-US" sz="3200" kern="12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ssues in cholera response</a:t>
            </a:r>
            <a:endParaRPr lang="en-US" sz="3200" kern="1200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528" y="1124744"/>
            <a:ext cx="8424936" cy="4896544"/>
          </a:xfrm>
        </p:spPr>
        <p:txBody>
          <a:bodyPr/>
          <a:lstStyle/>
          <a:p>
            <a:pPr marL="419456" lvl="1" indent="-342900">
              <a:spcBef>
                <a:spcPct val="800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Low multi-sectoral and multi-agency involvement to effectively address root causes of cholera and other water borne diseases outside mandate of Health</a:t>
            </a:r>
          </a:p>
          <a:p>
            <a:pPr marL="892001" lvl="2" indent="-342900"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Water and sanitation</a:t>
            </a:r>
          </a:p>
          <a:p>
            <a:pPr marL="892001" lvl="2" indent="-342900"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Food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hygiene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2">
              <a:spcBef>
                <a:spcPct val="80000"/>
              </a:spcBef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Weak surveillance systems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for early detection, confirmation and effective response to cholera outbreaks</a:t>
            </a:r>
          </a:p>
          <a:p>
            <a:pPr marL="342900" lvl="2">
              <a:spcBef>
                <a:spcPct val="80000"/>
              </a:spcBef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Weak monitoring and evaluation system</a:t>
            </a:r>
          </a:p>
          <a:p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5937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116632"/>
            <a:ext cx="8307791" cy="648072"/>
          </a:xfrm>
        </p:spPr>
        <p:txBody>
          <a:bodyPr/>
          <a:lstStyle/>
          <a:p>
            <a:pPr algn="ctr">
              <a:spcBef>
                <a:spcPct val="80000"/>
              </a:spcBef>
              <a:buClr>
                <a:srgbClr val="1E7FB8"/>
              </a:buClr>
            </a:pPr>
            <a:r>
              <a:rPr lang="en-US" sz="3200" kern="12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iority Actions </a:t>
            </a:r>
            <a:r>
              <a:rPr lang="en-US" sz="3200" kern="12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-Cholera-1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528" y="733425"/>
            <a:ext cx="8640960" cy="5359871"/>
          </a:xfrm>
        </p:spPr>
        <p:txBody>
          <a:bodyPr/>
          <a:lstStyle/>
          <a:p>
            <a:pPr marL="342900" lvl="1" indent="-342900">
              <a:spcBef>
                <a:spcPct val="800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Strengthen and sustain capacity of member states through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a Regional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strategy;</a:t>
            </a:r>
          </a:p>
          <a:p>
            <a:pPr marL="419456" lvl="1" indent="-342900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Prevent outbreaks and other health emergencies</a:t>
            </a:r>
          </a:p>
          <a:p>
            <a:pPr marL="419456" lvl="1" indent="-342900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Reduce morbidity, mortality, disability and socio-economic disruptions due to PHEs including cholera by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prompt;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86794" lvl="3" indent="-34290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detection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confirmation of 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outbreaks</a:t>
            </a:r>
          </a:p>
          <a:p>
            <a:pPr marL="1286794" lvl="3" indent="-342900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Response 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to and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recovery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from negative effects of PHEs </a:t>
            </a:r>
          </a:p>
          <a:p>
            <a:pPr marL="419456" lvl="1" indent="-342900">
              <a:spcBef>
                <a:spcPct val="80000"/>
              </a:spcBef>
              <a:buFont typeface="Wingdings" panose="05000000000000000000" pitchFamily="2" charset="2"/>
              <a:buChar char="ü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High level advocacy for strong multi-sectoral and multi-agency strategy to effectively address root causes of cholera and other water borne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diseases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(water &amp; sanitation, Food hygiene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6967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9824" y="188640"/>
            <a:ext cx="8307791" cy="648072"/>
          </a:xfrm>
        </p:spPr>
        <p:txBody>
          <a:bodyPr/>
          <a:lstStyle/>
          <a:p>
            <a:pPr algn="ctr">
              <a:spcBef>
                <a:spcPct val="80000"/>
              </a:spcBef>
              <a:buClr>
                <a:srgbClr val="1E7FB8"/>
              </a:buClr>
            </a:pPr>
            <a:r>
              <a:rPr lang="en-US" sz="3200" kern="12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iority Actions </a:t>
            </a:r>
            <a:r>
              <a:rPr lang="en-US" sz="3200" kern="12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-Cholera-2</a:t>
            </a:r>
            <a:endParaRPr lang="en-US" sz="3200" kern="1200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539" y="836713"/>
            <a:ext cx="8291501" cy="4536504"/>
          </a:xfrm>
        </p:spPr>
        <p:txBody>
          <a:bodyPr/>
          <a:lstStyle/>
          <a:p>
            <a:pPr marL="419456" lvl="1" indent="-342900">
              <a:spcBef>
                <a:spcPct val="80000"/>
              </a:spcBef>
              <a:buFont typeface="Arial" panose="020B0604020202020204" pitchFamily="34" charset="0"/>
              <a:buChar char="•"/>
            </a:pPr>
            <a:r>
              <a:rPr lang="en-US" sz="2100" dirty="0">
                <a:latin typeface="Arial" panose="020B0604020202020204" pitchFamily="34" charset="0"/>
                <a:cs typeface="Arial" panose="020B0604020202020204" pitchFamily="34" charset="0"/>
              </a:rPr>
              <a:t>Conduct joint process reviews to assess bottlenecks to cholera outbreak response</a:t>
            </a:r>
          </a:p>
          <a:p>
            <a:pPr marL="419456" lvl="1" indent="-342900">
              <a:spcBef>
                <a:spcPct val="80000"/>
              </a:spcBef>
              <a:buFont typeface="Arial" panose="020B0604020202020204" pitchFamily="34" charset="0"/>
              <a:buChar char="•"/>
            </a:pPr>
            <a:r>
              <a:rPr lang="en-US" sz="2100" dirty="0">
                <a:latin typeface="Arial" panose="020B0604020202020204" pitchFamily="34" charset="0"/>
                <a:cs typeface="Arial" panose="020B0604020202020204" pitchFamily="34" charset="0"/>
              </a:rPr>
              <a:t>Countries where cholera outbreaks have been controlled, need to conduct after-outbreak response review to identify lessons learnt and best practices, risk profiling using the all hazard approach and review contingency plans accordingly</a:t>
            </a:r>
          </a:p>
          <a:p>
            <a:pPr marL="419456" lvl="1" indent="-342900">
              <a:spcBef>
                <a:spcPct val="80000"/>
              </a:spcBef>
              <a:buFont typeface="Arial" panose="020B0604020202020204" pitchFamily="34" charset="0"/>
              <a:buChar char="•"/>
            </a:pPr>
            <a:r>
              <a:rPr lang="en-US" sz="2100" dirty="0">
                <a:latin typeface="Arial" panose="020B0604020202020204" pitchFamily="34" charset="0"/>
                <a:cs typeface="Arial" panose="020B0604020202020204" pitchFamily="34" charset="0"/>
              </a:rPr>
              <a:t>Maintain cholera as standing item on the </a:t>
            </a:r>
            <a:r>
              <a:rPr lang="en-US" sz="2100" dirty="0" smtClean="0">
                <a:latin typeface="Arial" panose="020B0604020202020204" pitchFamily="34" charset="0"/>
                <a:cs typeface="Arial" panose="020B0604020202020204" pitchFamily="34" charset="0"/>
              </a:rPr>
              <a:t>Multi-sectoral </a:t>
            </a:r>
            <a:r>
              <a:rPr lang="en-US" sz="2100" dirty="0">
                <a:latin typeface="Arial" panose="020B0604020202020204" pitchFamily="34" charset="0"/>
                <a:cs typeface="Arial" panose="020B0604020202020204" pitchFamily="34" charset="0"/>
              </a:rPr>
              <a:t>national and provincial/district outbreak response committees monthly meetings</a:t>
            </a:r>
          </a:p>
          <a:p>
            <a:pPr marL="419456" lvl="1" indent="-342900">
              <a:spcBef>
                <a:spcPct val="80000"/>
              </a:spcBef>
              <a:buFont typeface="Arial" panose="020B0604020202020204" pitchFamily="34" charset="0"/>
              <a:buChar char="•"/>
            </a:pPr>
            <a:r>
              <a:rPr lang="en-US" sz="2100" dirty="0">
                <a:latin typeface="Arial" panose="020B0604020202020204" pitchFamily="34" charset="0"/>
                <a:cs typeface="Arial" panose="020B0604020202020204" pitchFamily="34" charset="0"/>
              </a:rPr>
              <a:t>Cholera preparedness plans should be implemented 1-2 months before onset of another season</a:t>
            </a:r>
          </a:p>
          <a:p>
            <a:pPr marL="419456" lvl="1" indent="-342900">
              <a:spcBef>
                <a:spcPct val="80000"/>
              </a:spcBef>
              <a:buFont typeface="Arial" panose="020B0604020202020204" pitchFamily="34" charset="0"/>
              <a:buChar char="•"/>
            </a:pPr>
            <a:r>
              <a:rPr lang="en-US" sz="2100" dirty="0">
                <a:latin typeface="Arial" panose="020B0604020202020204" pitchFamily="34" charset="0"/>
                <a:cs typeface="Arial" panose="020B0604020202020204" pitchFamily="34" charset="0"/>
              </a:rPr>
              <a:t>Need for strong monitoring and evaluation system and use of data for action</a:t>
            </a:r>
          </a:p>
          <a:p>
            <a:pPr marL="342900" lvl="1">
              <a:spcBef>
                <a:spcPct val="80000"/>
              </a:spcBef>
            </a:pPr>
            <a:endParaRPr lang="en-US" sz="240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1304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-171400"/>
            <a:ext cx="8258922" cy="1238270"/>
          </a:xfrm>
        </p:spPr>
        <p:txBody>
          <a:bodyPr/>
          <a:lstStyle/>
          <a:p>
            <a:r>
              <a:rPr lang="en-US" sz="2800" kern="12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                            </a:t>
            </a:r>
            <a:r>
              <a:rPr lang="en-US" sz="3600" kern="12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hikungunya-Kenya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Started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n the 1st week of May  2016</a:t>
            </a:r>
          </a:p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MOH  reported to WHO on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28 May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2016</a:t>
            </a:r>
          </a:p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As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of 14 June 2016,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1,394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ases with 0 death had been reported from the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Mandera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County</a:t>
            </a: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Of the 82 samples tested, 25 were positive for Chikungunya virus by KEMRI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Arboviral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laboratory in Nairobi</a:t>
            </a:r>
          </a:p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Title of the Presentatio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98B45C-09C7-497B-9261-07F290CB2D4C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2963" y="1268760"/>
            <a:ext cx="4081462" cy="4392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5574947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2" y="260648"/>
            <a:ext cx="8640960" cy="720080"/>
          </a:xfrm>
        </p:spPr>
        <p:txBody>
          <a:bodyPr/>
          <a:lstStyle/>
          <a:p>
            <a:pPr algn="ctr">
              <a:spcBef>
                <a:spcPct val="80000"/>
              </a:spcBef>
              <a:buClr>
                <a:srgbClr val="1E7FB8"/>
              </a:buClr>
            </a:pPr>
            <a:r>
              <a:rPr lang="en-US" sz="3200" kern="12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e need a regional strategy to guide member states &amp; partners</a:t>
            </a:r>
            <a:endParaRPr lang="en-GB" sz="3200" kern="1200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536" y="1268760"/>
            <a:ext cx="8291501" cy="4569739"/>
          </a:xfrm>
        </p:spPr>
        <p:txBody>
          <a:bodyPr/>
          <a:lstStyle/>
          <a:p>
            <a:r>
              <a:rPr lang="en-US" sz="2400" b="1" dirty="0">
                <a:solidFill>
                  <a:srgbClr val="000066"/>
                </a:solidFill>
                <a:effectLst/>
                <a:latin typeface="+mn-lt"/>
              </a:rPr>
              <a:t>Vision</a:t>
            </a:r>
            <a:r>
              <a:rPr lang="en-US" sz="2400" dirty="0" smtClean="0">
                <a:effectLst/>
                <a:latin typeface="+mn-lt"/>
              </a:rPr>
              <a:t>: A safer African region where outbreaks and disasters are no longer major causes of morbidity and mortality and socio-economic disruption </a:t>
            </a:r>
          </a:p>
          <a:p>
            <a:r>
              <a:rPr lang="en-US" sz="2400" b="1" dirty="0" smtClean="0">
                <a:solidFill>
                  <a:srgbClr val="000066"/>
                </a:solidFill>
                <a:effectLst/>
                <a:latin typeface="+mn-lt"/>
              </a:rPr>
              <a:t>Mission</a:t>
            </a:r>
            <a:r>
              <a:rPr lang="en-US" sz="2400" dirty="0" smtClean="0">
                <a:effectLst/>
                <a:latin typeface="+mn-lt"/>
              </a:rPr>
              <a:t>: Support MS to ensure health security through prevention, prediction, early warning, early detection, and, rapid and effective response emergencies and disasters including disease outbreaks, using an all-hazard approach linked to primary health care systems</a:t>
            </a:r>
            <a:r>
              <a:rPr lang="en-US" dirty="0" smtClean="0">
                <a:effectLst/>
                <a:latin typeface="+mn-lt"/>
              </a:rPr>
              <a:t>.</a:t>
            </a:r>
          </a:p>
          <a:p>
            <a:r>
              <a:rPr lang="en-US" sz="2400" b="1" dirty="0">
                <a:solidFill>
                  <a:srgbClr val="000066"/>
                </a:solidFill>
                <a:effectLst/>
                <a:latin typeface="+mn-lt"/>
              </a:rPr>
              <a:t>Goal</a:t>
            </a:r>
            <a:r>
              <a:rPr lang="en-US" sz="2400" dirty="0" smtClean="0">
                <a:effectLst/>
                <a:latin typeface="+mn-lt"/>
              </a:rPr>
              <a:t>: To minimize the public health and socio-economic impact of outbreaks, emergencies and disasters, in the African Region</a:t>
            </a:r>
          </a:p>
          <a:p>
            <a:endParaRPr lang="en-GB" sz="2400" dirty="0"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1935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5255" y="-99392"/>
            <a:ext cx="9144000" cy="844952"/>
          </a:xfrm>
        </p:spPr>
        <p:txBody>
          <a:bodyPr rtlCol="0">
            <a:norm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en-US" sz="3200" kern="12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bjectives</a:t>
            </a:r>
          </a:p>
        </p:txBody>
      </p:sp>
      <p:sp>
        <p:nvSpPr>
          <p:cNvPr id="2051" name="Content Placeholder 2"/>
          <p:cNvSpPr>
            <a:spLocks noGrp="1"/>
          </p:cNvSpPr>
          <p:nvPr>
            <p:ph idx="1"/>
          </p:nvPr>
        </p:nvSpPr>
        <p:spPr>
          <a:xfrm>
            <a:off x="755576" y="692696"/>
            <a:ext cx="7704856" cy="4890304"/>
          </a:xfrm>
        </p:spPr>
        <p:txBody>
          <a:bodyPr/>
          <a:lstStyle/>
          <a:p>
            <a:pPr lvl="0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To strengthen and sustain the capacity of all the Member States health systems to prevent outbreaks and other health emergencies</a:t>
            </a:r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To strengthen and sustain the capacity of all the Member States health systems to promptly detect and confirm outbreaks</a:t>
            </a:r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To strengthen and sustain the capacity of all the Member States health systems to promptly respond to and recover from the negative effects of outbreaks and health emergencies</a:t>
            </a:r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23875" lvl="1" indent="0">
              <a:buNone/>
            </a:pPr>
            <a:endParaRPr lang="en-GB" dirty="0" smtClean="0"/>
          </a:p>
          <a:p>
            <a:pPr lvl="1"/>
            <a:endParaRPr lang="en-GB" dirty="0" smtClean="0"/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8158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9144000" cy="692696"/>
          </a:xfrm>
        </p:spPr>
        <p:txBody>
          <a:bodyPr rtlCol="0">
            <a:norm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en-US" sz="3200" kern="12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argets -1</a:t>
            </a:r>
          </a:p>
        </p:txBody>
      </p:sp>
      <p:sp>
        <p:nvSpPr>
          <p:cNvPr id="2051" name="Content Placeholder 2"/>
          <p:cNvSpPr>
            <a:spLocks noGrp="1"/>
          </p:cNvSpPr>
          <p:nvPr>
            <p:ph idx="1"/>
          </p:nvPr>
        </p:nvSpPr>
        <p:spPr>
          <a:xfrm>
            <a:off x="395536" y="692696"/>
            <a:ext cx="8280920" cy="5118903"/>
          </a:xfrm>
        </p:spPr>
        <p:txBody>
          <a:bodyPr/>
          <a:lstStyle/>
          <a:p>
            <a:pPr lvl="0"/>
            <a:r>
              <a:rPr lang="en-GB" sz="2200" b="1" dirty="0">
                <a:latin typeface="Arial" panose="020B0604020202020204" pitchFamily="34" charset="0"/>
                <a:cs typeface="Arial" panose="020B0604020202020204" pitchFamily="34" charset="0"/>
              </a:rPr>
              <a:t>At least 80%, </a:t>
            </a:r>
            <a:r>
              <a:rPr lang="en-GB" sz="2200" dirty="0">
                <a:latin typeface="Arial" panose="020B0604020202020204" pitchFamily="34" charset="0"/>
                <a:cs typeface="Arial" panose="020B0604020202020204" pitchFamily="34" charset="0"/>
              </a:rPr>
              <a:t>of Member States have organized a joint external evaluation (JEE) of </a:t>
            </a:r>
            <a:r>
              <a:rPr lang="en-GB" sz="2200" b="1" dirty="0">
                <a:latin typeface="Arial" panose="020B0604020202020204" pitchFamily="34" charset="0"/>
                <a:cs typeface="Arial" panose="020B0604020202020204" pitchFamily="34" charset="0"/>
              </a:rPr>
              <a:t>IHR core capacities </a:t>
            </a:r>
            <a:r>
              <a:rPr lang="en-GB" sz="2200" dirty="0">
                <a:latin typeface="Arial" panose="020B0604020202020204" pitchFamily="34" charset="0"/>
                <a:cs typeface="Arial" panose="020B0604020202020204" pitchFamily="34" charset="0"/>
              </a:rPr>
              <a:t>by 2018.</a:t>
            </a:r>
          </a:p>
          <a:p>
            <a:pPr lvl="0"/>
            <a:r>
              <a:rPr lang="en-GB" sz="2200" b="1" dirty="0">
                <a:latin typeface="Arial" panose="020B0604020202020204" pitchFamily="34" charset="0"/>
                <a:cs typeface="Arial" panose="020B0604020202020204" pitchFamily="34" charset="0"/>
              </a:rPr>
              <a:t>At least 80%, </a:t>
            </a:r>
            <a:r>
              <a:rPr lang="en-GB" sz="2200" dirty="0">
                <a:latin typeface="Arial" panose="020B0604020202020204" pitchFamily="34" charset="0"/>
                <a:cs typeface="Arial" panose="020B0604020202020204" pitchFamily="34" charset="0"/>
              </a:rPr>
              <a:t>of Member States have all hazards </a:t>
            </a:r>
            <a:r>
              <a:rPr lang="en-GB" sz="2200" b="1" dirty="0">
                <a:latin typeface="Arial" panose="020B0604020202020204" pitchFamily="34" charset="0"/>
                <a:cs typeface="Arial" panose="020B0604020202020204" pitchFamily="34" charset="0"/>
              </a:rPr>
              <a:t>preparedness plans</a:t>
            </a:r>
            <a:r>
              <a:rPr lang="en-GB" sz="2200" dirty="0">
                <a:latin typeface="Arial" panose="020B0604020202020204" pitchFamily="34" charset="0"/>
                <a:cs typeface="Arial" panose="020B0604020202020204" pitchFamily="34" charset="0"/>
              </a:rPr>
              <a:t> that are reviewed and tested, by 2018.</a:t>
            </a:r>
          </a:p>
          <a:p>
            <a:pPr lvl="0"/>
            <a:r>
              <a:rPr lang="en-GB" sz="2200" b="1" dirty="0">
                <a:latin typeface="Arial" panose="020B0604020202020204" pitchFamily="34" charset="0"/>
                <a:cs typeface="Arial" panose="020B0604020202020204" pitchFamily="34" charset="0"/>
              </a:rPr>
              <a:t>At least, 80% </a:t>
            </a:r>
            <a:r>
              <a:rPr lang="en-GB" sz="2200" dirty="0">
                <a:latin typeface="Arial" panose="020B0604020202020204" pitchFamily="34" charset="0"/>
                <a:cs typeface="Arial" panose="020B0604020202020204" pitchFamily="34" charset="0"/>
              </a:rPr>
              <a:t>of the Member States will have the </a:t>
            </a:r>
            <a:r>
              <a:rPr lang="en-GB" sz="2200" b="1" dirty="0">
                <a:latin typeface="Arial" panose="020B0604020202020204" pitchFamily="34" charset="0"/>
                <a:cs typeface="Arial" panose="020B0604020202020204" pitchFamily="34" charset="0"/>
              </a:rPr>
              <a:t>minimum IHR core capacities</a:t>
            </a:r>
            <a:r>
              <a:rPr lang="en-GB" sz="2200" dirty="0">
                <a:latin typeface="Arial" panose="020B0604020202020204" pitchFamily="34" charset="0"/>
                <a:cs typeface="Arial" panose="020B0604020202020204" pitchFamily="34" charset="0"/>
              </a:rPr>
              <a:t>, by 2020.</a:t>
            </a:r>
          </a:p>
          <a:p>
            <a:pPr lvl="0"/>
            <a:r>
              <a:rPr lang="en-GB" sz="2200" b="1" dirty="0">
                <a:latin typeface="Arial" panose="020B0604020202020204" pitchFamily="34" charset="0"/>
                <a:cs typeface="Arial" panose="020B0604020202020204" pitchFamily="34" charset="0"/>
              </a:rPr>
              <a:t>Over 90%, </a:t>
            </a:r>
            <a:r>
              <a:rPr lang="en-GB" sz="2200" dirty="0">
                <a:latin typeface="Arial" panose="020B0604020202020204" pitchFamily="34" charset="0"/>
                <a:cs typeface="Arial" panose="020B0604020202020204" pitchFamily="34" charset="0"/>
              </a:rPr>
              <a:t>of Member States are implementing </a:t>
            </a:r>
            <a:r>
              <a:rPr lang="en-GB" sz="2200" b="1" dirty="0">
                <a:latin typeface="Arial" panose="020B0604020202020204" pitchFamily="34" charset="0"/>
                <a:cs typeface="Arial" panose="020B0604020202020204" pitchFamily="34" charset="0"/>
              </a:rPr>
              <a:t>IDSR</a:t>
            </a:r>
            <a:r>
              <a:rPr lang="en-GB" sz="2200" dirty="0">
                <a:latin typeface="Arial" panose="020B0604020202020204" pitchFamily="34" charset="0"/>
                <a:cs typeface="Arial" panose="020B0604020202020204" pitchFamily="34" charset="0"/>
              </a:rPr>
              <a:t> including event-based surveillance systems with at least 90% country coverage, by 2020.</a:t>
            </a:r>
          </a:p>
          <a:p>
            <a:r>
              <a:rPr lang="en-US" sz="2200" b="1" dirty="0">
                <a:latin typeface="Arial" panose="020B0604020202020204" pitchFamily="34" charset="0"/>
                <a:cs typeface="Arial" panose="020B0604020202020204" pitchFamily="34" charset="0"/>
              </a:rPr>
              <a:t>At least 80% 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of </a:t>
            </a:r>
            <a:r>
              <a:rPr lang="en-GB" sz="2200" dirty="0">
                <a:latin typeface="Arial" panose="020B0604020202020204" pitchFamily="34" charset="0"/>
                <a:cs typeface="Arial" panose="020B0604020202020204" pitchFamily="34" charset="0"/>
              </a:rPr>
              <a:t>Member States have a </a:t>
            </a:r>
            <a:r>
              <a:rPr lang="en-GB" sz="2200" b="1" dirty="0">
                <a:latin typeface="Arial" panose="020B0604020202020204" pitchFamily="34" charset="0"/>
                <a:cs typeface="Arial" panose="020B0604020202020204" pitchFamily="34" charset="0"/>
              </a:rPr>
              <a:t>functional national laboratory system</a:t>
            </a:r>
            <a:r>
              <a:rPr lang="en-GB" sz="2200" dirty="0">
                <a:latin typeface="Arial" panose="020B0604020202020204" pitchFamily="34" charset="0"/>
                <a:cs typeface="Arial" panose="020B0604020202020204" pitchFamily="34" charset="0"/>
              </a:rPr>
              <a:t> and network by 2020</a:t>
            </a:r>
          </a:p>
          <a:p>
            <a:pPr lvl="1"/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76043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9144000" cy="844952"/>
          </a:xfrm>
        </p:spPr>
        <p:txBody>
          <a:bodyPr rtlCol="0">
            <a:norm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en-US" sz="3200" kern="12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argets-2</a:t>
            </a:r>
          </a:p>
        </p:txBody>
      </p:sp>
      <p:sp>
        <p:nvSpPr>
          <p:cNvPr id="2051" name="Content Placeholder 2"/>
          <p:cNvSpPr>
            <a:spLocks noGrp="1"/>
          </p:cNvSpPr>
          <p:nvPr>
            <p:ph idx="1"/>
          </p:nvPr>
        </p:nvSpPr>
        <p:spPr>
          <a:xfrm>
            <a:off x="755576" y="977097"/>
            <a:ext cx="7920880" cy="4890304"/>
          </a:xfrm>
        </p:spPr>
        <p:txBody>
          <a:bodyPr/>
          <a:lstStyle/>
          <a:p>
            <a:pPr lvl="0">
              <a:buFont typeface="Arial" panose="020B0604020202020204" pitchFamily="34" charset="0"/>
              <a:buChar char="•"/>
            </a:pP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Over 90%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of Member States have </a:t>
            </a: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a multi-level and multi-faced </a:t>
            </a: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risk communication strategy </a:t>
            </a: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for real time exchange of information, by 2020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Over 80% </a:t>
            </a: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of Member States will have an </a:t>
            </a: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adequate</a:t>
            </a: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health work force </a:t>
            </a: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to respond to outbreaks and health emergencies as stipulated in the JEE tool by 2020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2692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116632"/>
            <a:ext cx="8307791" cy="576064"/>
          </a:xfrm>
        </p:spPr>
        <p:txBody>
          <a:bodyPr/>
          <a:lstStyle/>
          <a:p>
            <a:pPr algn="ctr"/>
            <a:r>
              <a:rPr lang="en-US" sz="3200" b="1" dirty="0" smtClean="0">
                <a:solidFill>
                  <a:schemeClr val="tx2"/>
                </a:solidFill>
              </a:rPr>
              <a:t>Strategic Approaches</a:t>
            </a:r>
            <a:endParaRPr lang="en-US" sz="3200" b="1" dirty="0">
              <a:solidFill>
                <a:schemeClr val="tx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560" y="692696"/>
            <a:ext cx="7992888" cy="5400600"/>
          </a:xfrm>
        </p:spPr>
        <p:txBody>
          <a:bodyPr/>
          <a:lstStyle/>
          <a:p>
            <a:pPr marL="0" indent="0">
              <a:buNone/>
            </a:pPr>
            <a:r>
              <a:rPr lang="en-US" sz="2400" b="1" dirty="0" smtClean="0">
                <a:solidFill>
                  <a:srgbClr val="000099"/>
                </a:solidFill>
                <a:effectLst/>
                <a:latin typeface="+mn-lt"/>
              </a:rPr>
              <a:t>All-hazard approach – one operational platform , One Health, new WHE</a:t>
            </a:r>
          </a:p>
          <a:p>
            <a:pPr marL="0" indent="0">
              <a:buNone/>
            </a:pPr>
            <a:r>
              <a:rPr lang="en-US" sz="2400" dirty="0" smtClean="0">
                <a:effectLst/>
                <a:latin typeface="+mn-lt"/>
              </a:rPr>
              <a:t>The </a:t>
            </a:r>
            <a:r>
              <a:rPr lang="en-US" sz="2400" dirty="0">
                <a:solidFill>
                  <a:srgbClr val="000099"/>
                </a:solidFill>
                <a:effectLst/>
                <a:latin typeface="+mn-lt"/>
              </a:rPr>
              <a:t>RAPID concept</a:t>
            </a:r>
            <a:r>
              <a:rPr lang="en-US" sz="2400" dirty="0" smtClean="0">
                <a:solidFill>
                  <a:srgbClr val="000099"/>
                </a:solidFill>
                <a:effectLst/>
                <a:latin typeface="+mn-lt"/>
              </a:rPr>
              <a:t>:</a:t>
            </a:r>
            <a:endParaRPr lang="en-GB" sz="2400" dirty="0">
              <a:solidFill>
                <a:srgbClr val="000099"/>
              </a:solidFill>
              <a:effectLst/>
              <a:latin typeface="+mn-lt"/>
            </a:endParaRPr>
          </a:p>
          <a:p>
            <a:r>
              <a:rPr lang="en-US" sz="2400" b="1" dirty="0">
                <a:solidFill>
                  <a:srgbClr val="000099"/>
                </a:solidFill>
                <a:effectLst/>
                <a:latin typeface="+mn-lt"/>
              </a:rPr>
              <a:t>R</a:t>
            </a:r>
            <a:r>
              <a:rPr lang="en-US" sz="2400" dirty="0">
                <a:latin typeface="+mn-lt"/>
              </a:rPr>
              <a:t>apid</a:t>
            </a:r>
            <a:r>
              <a:rPr lang="en-US" sz="2400" dirty="0">
                <a:effectLst/>
                <a:latin typeface="+mn-lt"/>
              </a:rPr>
              <a:t> response for rapid impact</a:t>
            </a:r>
            <a:endParaRPr lang="en-GB" sz="2400" dirty="0">
              <a:effectLst/>
              <a:latin typeface="+mn-lt"/>
            </a:endParaRPr>
          </a:p>
          <a:p>
            <a:r>
              <a:rPr lang="en-US" sz="2400" b="1" dirty="0">
                <a:solidFill>
                  <a:srgbClr val="000099"/>
                </a:solidFill>
                <a:effectLst/>
                <a:latin typeface="+mn-lt"/>
              </a:rPr>
              <a:t>A</a:t>
            </a:r>
            <a:r>
              <a:rPr lang="en-US" sz="2400" dirty="0">
                <a:latin typeface="+mn-lt"/>
              </a:rPr>
              <a:t>ctions</a:t>
            </a:r>
            <a:r>
              <a:rPr lang="en-US" sz="2400" dirty="0">
                <a:effectLst/>
                <a:latin typeface="+mn-lt"/>
              </a:rPr>
              <a:t> and results oriented</a:t>
            </a:r>
            <a:endParaRPr lang="en-GB" sz="2400" dirty="0">
              <a:effectLst/>
              <a:latin typeface="+mn-lt"/>
            </a:endParaRPr>
          </a:p>
          <a:p>
            <a:r>
              <a:rPr lang="en-US" sz="2400" b="1" dirty="0">
                <a:solidFill>
                  <a:srgbClr val="000099"/>
                </a:solidFill>
                <a:effectLst/>
                <a:latin typeface="+mn-lt"/>
              </a:rPr>
              <a:t>P</a:t>
            </a:r>
            <a:r>
              <a:rPr lang="en-US" sz="2400" dirty="0">
                <a:latin typeface="+mn-lt"/>
              </a:rPr>
              <a:t>roactive</a:t>
            </a:r>
            <a:r>
              <a:rPr lang="en-US" sz="2400" dirty="0">
                <a:effectLst/>
                <a:latin typeface="+mn-lt"/>
              </a:rPr>
              <a:t> Preparedness and Prevention </a:t>
            </a:r>
            <a:endParaRPr lang="en-GB" sz="2400" dirty="0">
              <a:effectLst/>
              <a:latin typeface="+mn-lt"/>
            </a:endParaRPr>
          </a:p>
          <a:p>
            <a:r>
              <a:rPr lang="en-US" sz="2400" b="1" dirty="0">
                <a:solidFill>
                  <a:srgbClr val="000099"/>
                </a:solidFill>
                <a:effectLst/>
                <a:latin typeface="+mn-lt"/>
              </a:rPr>
              <a:t>I</a:t>
            </a:r>
            <a:r>
              <a:rPr lang="en-US" sz="2400" dirty="0">
                <a:latin typeface="+mn-lt"/>
              </a:rPr>
              <a:t>ntelligence</a:t>
            </a:r>
            <a:r>
              <a:rPr lang="en-US" sz="2400" dirty="0">
                <a:effectLst/>
                <a:latin typeface="+mn-lt"/>
              </a:rPr>
              <a:t> and real-time </a:t>
            </a:r>
            <a:r>
              <a:rPr lang="en-US" sz="2400" dirty="0" smtClean="0">
                <a:effectLst/>
                <a:latin typeface="+mn-lt"/>
              </a:rPr>
              <a:t>information, risk mapping and communication for </a:t>
            </a:r>
            <a:r>
              <a:rPr lang="en-US" sz="2400" dirty="0">
                <a:effectLst/>
                <a:latin typeface="+mn-lt"/>
              </a:rPr>
              <a:t>rapid decision making  </a:t>
            </a:r>
            <a:endParaRPr lang="en-GB" sz="2400" dirty="0">
              <a:effectLst/>
              <a:latin typeface="+mn-lt"/>
            </a:endParaRPr>
          </a:p>
          <a:p>
            <a:r>
              <a:rPr lang="en-US" sz="2400" b="1" dirty="0">
                <a:solidFill>
                  <a:srgbClr val="000099"/>
                </a:solidFill>
                <a:effectLst/>
                <a:latin typeface="+mn-lt"/>
              </a:rPr>
              <a:t>D</a:t>
            </a:r>
            <a:r>
              <a:rPr lang="en-US" sz="2400" dirty="0">
                <a:latin typeface="+mn-lt"/>
              </a:rPr>
              <a:t>edicated</a:t>
            </a:r>
            <a:r>
              <a:rPr lang="en-US" sz="2400" dirty="0">
                <a:effectLst/>
                <a:latin typeface="+mn-lt"/>
              </a:rPr>
              <a:t> staff and </a:t>
            </a:r>
            <a:r>
              <a:rPr lang="en-US" sz="2400" dirty="0" smtClean="0">
                <a:effectLst/>
                <a:latin typeface="+mn-lt"/>
              </a:rPr>
              <a:t>team including across clusters </a:t>
            </a:r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59770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1520" y="885825"/>
            <a:ext cx="8654355" cy="4415383"/>
          </a:xfrm>
        </p:spPr>
        <p:txBody>
          <a:bodyPr/>
          <a:lstStyle/>
          <a:p>
            <a:pPr marL="457200" indent="-457200" algn="just">
              <a:buFont typeface="Wingdings" pitchFamily="2" charset="2"/>
              <a:buChar char="§"/>
            </a:pP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O</a:t>
            </a:r>
            <a:r>
              <a:rPr lang="en-GB" sz="2400" dirty="0" smtClean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utbreaks &amp; other </a:t>
            </a:r>
            <a:r>
              <a:rPr lang="en-GB" sz="24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health emergencies </a:t>
            </a:r>
            <a:r>
              <a:rPr lang="en-GB" sz="2400" dirty="0" smtClean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are frequent in </a:t>
            </a:r>
            <a:r>
              <a:rPr lang="en-GB" sz="24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GB" sz="2400" dirty="0" smtClean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WHO African region</a:t>
            </a:r>
          </a:p>
          <a:p>
            <a:pPr marL="457200" indent="-457200" algn="just">
              <a:buFont typeface="Wingdings" pitchFamily="2" charset="2"/>
              <a:buChar char="§"/>
            </a:pP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PHEs e.g. Ebola, YF, Polio, </a:t>
            </a:r>
            <a:r>
              <a:rPr lang="en-GB" sz="2400" dirty="0" err="1">
                <a:latin typeface="Arial" panose="020B0604020202020204" pitchFamily="34" charset="0"/>
                <a:cs typeface="Arial" panose="020B0604020202020204" pitchFamily="34" charset="0"/>
              </a:rPr>
              <a:t>Zika</a:t>
            </a: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, cholera… threaten regional and global health security</a:t>
            </a:r>
          </a:p>
          <a:p>
            <a:pPr marL="457200" indent="-457200" algn="just">
              <a:buFont typeface="Wingdings" pitchFamily="2" charset="2"/>
              <a:buChar char="§"/>
            </a:pPr>
            <a:r>
              <a:rPr lang="en-GB" sz="2400" dirty="0" smtClean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Disrupts </a:t>
            </a:r>
            <a:r>
              <a:rPr lang="en-GB" sz="24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societies and </a:t>
            </a:r>
            <a:r>
              <a:rPr lang="en-GB" sz="2400" dirty="0" smtClean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economies</a:t>
            </a:r>
          </a:p>
          <a:p>
            <a:pPr marL="457200" indent="-457200" algn="just">
              <a:buFont typeface="Wingdings" pitchFamily="2" charset="2"/>
              <a:buChar char="§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About 100 acute public health events occur annually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the African Region </a:t>
            </a:r>
          </a:p>
          <a:p>
            <a:pPr marL="457200" indent="-457200" algn="just">
              <a:buFont typeface="Wingdings" pitchFamily="2" charset="2"/>
              <a:buChar char="§"/>
            </a:pPr>
            <a:r>
              <a:rPr lang="en-US" sz="2400" dirty="0" smtClean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 2015, 105 Public health events were reported. </a:t>
            </a:r>
          </a:p>
          <a:p>
            <a:pPr marL="457200" indent="-457200" algn="just">
              <a:buFont typeface="Wingdings" pitchFamily="2" charset="2"/>
              <a:buChar char="§"/>
            </a:pPr>
            <a:r>
              <a:rPr lang="en-US" sz="2400" dirty="0" smtClean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Over 60 emergencies reported from 30 countries this year alone </a:t>
            </a:r>
            <a:endParaRPr lang="en-GB" sz="24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40914" y="188640"/>
            <a:ext cx="87405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8015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32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itchFamily="34" charset="0"/>
                <a:cs typeface="Calibri" panose="020F0502020204030204" pitchFamily="34" charset="0"/>
              </a:rPr>
              <a:t>Overview of reported PHEs in WHO African region</a:t>
            </a:r>
            <a:endParaRPr lang="en-GB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Calibri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1276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-99392"/>
            <a:ext cx="9144000" cy="844952"/>
          </a:xfrm>
        </p:spPr>
        <p:txBody>
          <a:bodyPr rtlCol="0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3200" b="1" dirty="0" smtClean="0">
                <a:solidFill>
                  <a:schemeClr val="tx2"/>
                </a:solidFill>
              </a:rPr>
              <a:t> </a:t>
            </a:r>
            <a:endParaRPr lang="en-US" sz="3200" b="1" dirty="0">
              <a:solidFill>
                <a:schemeClr val="tx2"/>
              </a:solidFill>
            </a:endParaRPr>
          </a:p>
        </p:txBody>
      </p:sp>
      <p:sp>
        <p:nvSpPr>
          <p:cNvPr id="2051" name="Content Placeholder 2"/>
          <p:cNvSpPr>
            <a:spLocks noGrp="1"/>
          </p:cNvSpPr>
          <p:nvPr>
            <p:ph idx="1"/>
          </p:nvPr>
        </p:nvSpPr>
        <p:spPr>
          <a:xfrm>
            <a:off x="539552" y="692696"/>
            <a:ext cx="7776864" cy="5307957"/>
          </a:xfrm>
        </p:spPr>
        <p:txBody>
          <a:bodyPr/>
          <a:lstStyle/>
          <a:p>
            <a:pPr marL="523875" lvl="1" indent="0">
              <a:buNone/>
            </a:pPr>
            <a:endParaRPr lang="en-GB" sz="2000" dirty="0" smtClean="0"/>
          </a:p>
          <a:p>
            <a:pPr lvl="1"/>
            <a:endParaRPr lang="en-GB" sz="2000" dirty="0" smtClean="0"/>
          </a:p>
          <a:p>
            <a:pPr lvl="1"/>
            <a:endParaRPr lang="en-GB" sz="2000" dirty="0"/>
          </a:p>
        </p:txBody>
      </p:sp>
      <p:pic>
        <p:nvPicPr>
          <p:cNvPr id="1026" name="Picture 2" descr="C:\Users\socef\AppData\Local\Microsoft\Windows\Temporary Internet Files\Content.Outlook\G5G11BMV\IMG_1810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52450"/>
            <a:ext cx="9144000" cy="5753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/>
          <p:cNvSpPr txBox="1">
            <a:spLocks/>
          </p:cNvSpPr>
          <p:nvPr/>
        </p:nvSpPr>
        <p:spPr bwMode="auto">
          <a:xfrm>
            <a:off x="683568" y="116632"/>
            <a:ext cx="7632848" cy="435818"/>
          </a:xfrm>
          <a:prstGeom prst="rect">
            <a:avLst/>
          </a:prstGeom>
          <a:noFill/>
          <a:ln>
            <a:noFill/>
          </a:ln>
          <a:effectLst>
            <a:outerShdw dist="17961" dir="2700000" algn="ctr" rotWithShape="0">
              <a:srgbClr val="96CCEE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lvl1pPr algn="l" defTabSz="880152" rtl="0" eaLnBrk="0" fontAlgn="base" hangingPunct="0">
              <a:spcBef>
                <a:spcPct val="0"/>
              </a:spcBef>
              <a:spcAft>
                <a:spcPct val="0"/>
              </a:spcAft>
              <a:defRPr sz="2500" b="1">
                <a:solidFill>
                  <a:srgbClr val="0070C0"/>
                </a:solidFill>
                <a:latin typeface="Calibri" panose="020F0502020204030204" pitchFamily="34" charset="0"/>
                <a:ea typeface="Calibri" pitchFamily="34" charset="0"/>
                <a:cs typeface="Calibri" panose="020F0502020204030204" pitchFamily="34" charset="0"/>
              </a:defRPr>
            </a:lvl1pPr>
            <a:lvl2pPr algn="l" defTabSz="880152" rtl="0" eaLnBrk="0" fontAlgn="base" hangingPunct="0">
              <a:spcBef>
                <a:spcPct val="0"/>
              </a:spcBef>
              <a:spcAft>
                <a:spcPct val="0"/>
              </a:spcAft>
              <a:defRPr sz="2500" b="1">
                <a:solidFill>
                  <a:srgbClr val="00006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2pPr>
            <a:lvl3pPr algn="l" defTabSz="880152" rtl="0" eaLnBrk="0" fontAlgn="base" hangingPunct="0">
              <a:spcBef>
                <a:spcPct val="0"/>
              </a:spcBef>
              <a:spcAft>
                <a:spcPct val="0"/>
              </a:spcAft>
              <a:defRPr sz="2500" b="1">
                <a:solidFill>
                  <a:srgbClr val="00006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3pPr>
            <a:lvl4pPr algn="l" defTabSz="880152" rtl="0" eaLnBrk="0" fontAlgn="base" hangingPunct="0">
              <a:spcBef>
                <a:spcPct val="0"/>
              </a:spcBef>
              <a:spcAft>
                <a:spcPct val="0"/>
              </a:spcAft>
              <a:defRPr sz="2500" b="1">
                <a:solidFill>
                  <a:srgbClr val="00006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4pPr>
            <a:lvl5pPr algn="l" defTabSz="880152" rtl="0" eaLnBrk="0" fontAlgn="base" hangingPunct="0">
              <a:spcBef>
                <a:spcPct val="0"/>
              </a:spcBef>
              <a:spcAft>
                <a:spcPct val="0"/>
              </a:spcAft>
              <a:defRPr sz="2500" b="1">
                <a:solidFill>
                  <a:srgbClr val="00006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5pPr>
            <a:lvl6pPr marL="388039" algn="ctr" defTabSz="885297" rtl="0" fontAlgn="base">
              <a:spcBef>
                <a:spcPct val="0"/>
              </a:spcBef>
              <a:spcAft>
                <a:spcPct val="0"/>
              </a:spcAft>
              <a:defRPr sz="3500" b="1">
                <a:solidFill>
                  <a:srgbClr val="000066"/>
                </a:solidFill>
                <a:latin typeface="Arial" charset="0"/>
                <a:cs typeface="Arial" charset="0"/>
              </a:defRPr>
            </a:lvl6pPr>
            <a:lvl7pPr marL="776130" algn="ctr" defTabSz="885297" rtl="0" fontAlgn="base">
              <a:spcBef>
                <a:spcPct val="0"/>
              </a:spcBef>
              <a:spcAft>
                <a:spcPct val="0"/>
              </a:spcAft>
              <a:defRPr sz="3500" b="1">
                <a:solidFill>
                  <a:srgbClr val="000066"/>
                </a:solidFill>
                <a:latin typeface="Arial" charset="0"/>
                <a:cs typeface="Arial" charset="0"/>
              </a:defRPr>
            </a:lvl7pPr>
            <a:lvl8pPr marL="1164209" algn="ctr" defTabSz="885297" rtl="0" fontAlgn="base">
              <a:spcBef>
                <a:spcPct val="0"/>
              </a:spcBef>
              <a:spcAft>
                <a:spcPct val="0"/>
              </a:spcAft>
              <a:defRPr sz="3500" b="1">
                <a:solidFill>
                  <a:srgbClr val="000066"/>
                </a:solidFill>
                <a:latin typeface="Arial" charset="0"/>
                <a:cs typeface="Arial" charset="0"/>
              </a:defRPr>
            </a:lvl8pPr>
            <a:lvl9pPr marL="1552277" algn="ctr" defTabSz="885297" rtl="0" fontAlgn="base">
              <a:spcBef>
                <a:spcPct val="0"/>
              </a:spcBef>
              <a:spcAft>
                <a:spcPct val="0"/>
              </a:spcAft>
              <a:defRPr sz="3500" b="1">
                <a:solidFill>
                  <a:srgbClr val="000066"/>
                </a:solidFill>
                <a:latin typeface="Arial" charset="0"/>
                <a:cs typeface="Arial" charset="0"/>
              </a:defRPr>
            </a:lvl9pPr>
          </a:lstStyle>
          <a:p>
            <a:pPr algn="ctr" fontAlgn="auto">
              <a:spcAft>
                <a:spcPts val="0"/>
              </a:spcAft>
              <a:defRPr/>
            </a:pPr>
            <a:r>
              <a:rPr lang="en-US" sz="32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dicated work force at all levels</a:t>
            </a:r>
          </a:p>
        </p:txBody>
      </p:sp>
    </p:spTree>
    <p:extLst>
      <p:ext uri="{BB962C8B-B14F-4D97-AF65-F5344CB8AC3E}">
        <p14:creationId xmlns:p14="http://schemas.microsoft.com/office/powerpoint/2010/main" val="2901013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899592" y="188640"/>
            <a:ext cx="6984776" cy="556920"/>
          </a:xfrm>
        </p:spPr>
        <p:txBody>
          <a:bodyPr rtlCol="0">
            <a:norm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en-US" sz="3200" kern="12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iority Strategic actions-1</a:t>
            </a:r>
          </a:p>
        </p:txBody>
      </p:sp>
      <p:sp>
        <p:nvSpPr>
          <p:cNvPr id="2051" name="Content Placeholder 2"/>
          <p:cNvSpPr>
            <a:spLocks noGrp="1"/>
          </p:cNvSpPr>
          <p:nvPr>
            <p:ph idx="1"/>
          </p:nvPr>
        </p:nvSpPr>
        <p:spPr>
          <a:xfrm>
            <a:off x="251520" y="764704"/>
            <a:ext cx="8640960" cy="5040560"/>
          </a:xfrm>
        </p:spPr>
        <p:txBody>
          <a:bodyPr/>
          <a:lstStyle/>
          <a:p>
            <a:pPr algn="just">
              <a:buFont typeface="Arial" panose="020B0604020202020204" pitchFamily="34" charset="0"/>
              <a:buChar char="•"/>
            </a:pPr>
            <a:r>
              <a:rPr lang="en-US" sz="2400" dirty="0" smtClean="0">
                <a:effectLst/>
                <a:latin typeface="+mn-lt"/>
              </a:rPr>
              <a:t>Conduct regional </a:t>
            </a:r>
            <a:r>
              <a:rPr lang="en-US" sz="2400" dirty="0">
                <a:latin typeface="+mn-lt"/>
              </a:rPr>
              <a:t>r</a:t>
            </a:r>
            <a:r>
              <a:rPr lang="en-US" sz="2400" dirty="0" smtClean="0">
                <a:effectLst/>
                <a:latin typeface="+mn-lt"/>
              </a:rPr>
              <a:t>isk-mapping </a:t>
            </a:r>
            <a:r>
              <a:rPr lang="en-US" sz="2400" dirty="0">
                <a:effectLst/>
                <a:latin typeface="+mn-lt"/>
              </a:rPr>
              <a:t>for PHEs </a:t>
            </a:r>
            <a:r>
              <a:rPr lang="en-US" sz="2400" dirty="0" smtClean="0">
                <a:effectLst/>
                <a:latin typeface="+mn-lt"/>
              </a:rPr>
              <a:t>to build </a:t>
            </a:r>
            <a:r>
              <a:rPr lang="en-US" sz="2400" dirty="0">
                <a:effectLst/>
                <a:latin typeface="+mn-lt"/>
              </a:rPr>
              <a:t>early warning </a:t>
            </a:r>
            <a:r>
              <a:rPr lang="en-US" sz="2400" dirty="0" smtClean="0">
                <a:effectLst/>
                <a:latin typeface="+mn-lt"/>
              </a:rPr>
              <a:t>and response systems </a:t>
            </a:r>
            <a:endParaRPr lang="en-US" sz="2400" dirty="0">
              <a:effectLst/>
              <a:latin typeface="+mn-lt"/>
            </a:endParaRPr>
          </a:p>
          <a:p>
            <a:pPr lvl="0" algn="just">
              <a:buFont typeface="Arial" panose="020B0604020202020204" pitchFamily="34" charset="0"/>
              <a:buChar char="•"/>
            </a:pPr>
            <a:r>
              <a:rPr lang="en-US" sz="2400" dirty="0" smtClean="0">
                <a:effectLst/>
                <a:latin typeface="+mn-lt"/>
                <a:cs typeface="Times New Roman" pitchFamily="18" charset="0"/>
              </a:rPr>
              <a:t>Establish regional capacity for strategic information management for decision making</a:t>
            </a:r>
          </a:p>
          <a:p>
            <a:pPr lvl="0" algn="just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+mn-lt"/>
                <a:cs typeface="Times New Roman" pitchFamily="18" charset="0"/>
              </a:rPr>
              <a:t>AMR surveillance and mitigation </a:t>
            </a:r>
            <a:endParaRPr lang="en-US" sz="2400" dirty="0" smtClean="0">
              <a:effectLst/>
              <a:latin typeface="+mn-lt"/>
              <a:cs typeface="Times New Roman" pitchFamily="18" charset="0"/>
            </a:endParaRPr>
          </a:p>
          <a:p>
            <a:pPr lvl="0" algn="just">
              <a:buFont typeface="Arial" panose="020B0604020202020204" pitchFamily="34" charset="0"/>
              <a:buChar char="•"/>
            </a:pPr>
            <a:r>
              <a:rPr lang="en-US" sz="2400" dirty="0" smtClean="0">
                <a:effectLst/>
                <a:latin typeface="+mn-lt"/>
                <a:cs typeface="Times New Roman" pitchFamily="18" charset="0"/>
              </a:rPr>
              <a:t>High level advocacy meetings for IHR including other sectors in collaboration with RECs</a:t>
            </a:r>
            <a:endParaRPr lang="en-US" sz="2400" dirty="0">
              <a:effectLst/>
              <a:latin typeface="+mn-lt"/>
              <a:cs typeface="Times New Roman" pitchFamily="18" charset="0"/>
            </a:endParaRPr>
          </a:p>
          <a:p>
            <a:pPr lvl="0" algn="just">
              <a:buFont typeface="Arial" panose="020B0604020202020204" pitchFamily="34" charset="0"/>
              <a:buChar char="•"/>
            </a:pPr>
            <a:r>
              <a:rPr lang="en-US" sz="2400" dirty="0" smtClean="0">
                <a:effectLst/>
                <a:latin typeface="+mn-lt"/>
              </a:rPr>
              <a:t>Revitalize A</a:t>
            </a:r>
            <a:r>
              <a:rPr lang="fr-FR" sz="2400" dirty="0" smtClean="0">
                <a:effectLst/>
                <a:latin typeface="+mn-lt"/>
              </a:rPr>
              <a:t>f</a:t>
            </a:r>
            <a:r>
              <a:rPr lang="en-US" sz="2400" dirty="0" err="1" smtClean="0">
                <a:effectLst/>
                <a:latin typeface="+mn-lt"/>
              </a:rPr>
              <a:t>rican</a:t>
            </a:r>
            <a:r>
              <a:rPr lang="en-US" sz="2400" dirty="0" smtClean="0">
                <a:effectLst/>
                <a:latin typeface="+mn-lt"/>
              </a:rPr>
              <a:t> Public Health Fund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en-GB" sz="2400" dirty="0" smtClean="0">
                <a:effectLst/>
                <a:latin typeface="+mn-lt"/>
              </a:rPr>
              <a:t>Build country IHR core capacities in </a:t>
            </a:r>
            <a:r>
              <a:rPr lang="en-GB" sz="2400" dirty="0">
                <a:effectLst/>
                <a:latin typeface="+mn-lt"/>
              </a:rPr>
              <a:t>a </a:t>
            </a:r>
            <a:r>
              <a:rPr lang="en-GB" sz="2400" dirty="0" smtClean="0">
                <a:effectLst/>
                <a:latin typeface="+mn-lt"/>
              </a:rPr>
              <a:t>coordinated manner </a:t>
            </a:r>
            <a:r>
              <a:rPr lang="en-GB" sz="2400" dirty="0">
                <a:effectLst/>
                <a:latin typeface="+mn-lt"/>
              </a:rPr>
              <a:t>in the context of </a:t>
            </a:r>
            <a:r>
              <a:rPr lang="en-GB" sz="2400" dirty="0" smtClean="0">
                <a:effectLst/>
                <a:latin typeface="+mn-lt"/>
              </a:rPr>
              <a:t>GHS-better partners 'coordination </a:t>
            </a:r>
          </a:p>
          <a:p>
            <a:pPr marL="0" indent="0">
              <a:buNone/>
            </a:pPr>
            <a:endParaRPr lang="en-GB" sz="2400" dirty="0">
              <a:effectLst/>
              <a:latin typeface="Calibri" pitchFamily="34" charset="0"/>
            </a:endParaRPr>
          </a:p>
          <a:p>
            <a:pPr marL="523875" lvl="1" indent="0">
              <a:buNone/>
            </a:pPr>
            <a:endParaRPr lang="en-GB" sz="2000" dirty="0" smtClean="0"/>
          </a:p>
          <a:p>
            <a:pPr lvl="1"/>
            <a:endParaRPr lang="en-GB" sz="2000" dirty="0" smtClean="0"/>
          </a:p>
          <a:p>
            <a:pPr lvl="1"/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1047144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683568" y="116632"/>
            <a:ext cx="7632848" cy="504056"/>
          </a:xfrm>
        </p:spPr>
        <p:txBody>
          <a:bodyPr rtlCol="0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3200" dirty="0">
                <a:solidFill>
                  <a:schemeClr val="tx2"/>
                </a:solidFill>
              </a:rPr>
              <a:t>Priority Strategic actions-2</a:t>
            </a:r>
            <a:endParaRPr lang="en-US" sz="3200" b="1" dirty="0">
              <a:solidFill>
                <a:schemeClr val="tx2"/>
              </a:solidFill>
            </a:endParaRPr>
          </a:p>
        </p:txBody>
      </p:sp>
      <p:sp>
        <p:nvSpPr>
          <p:cNvPr id="2051" name="Content Placeholder 2"/>
          <p:cNvSpPr>
            <a:spLocks noGrp="1"/>
          </p:cNvSpPr>
          <p:nvPr>
            <p:ph idx="1"/>
          </p:nvPr>
        </p:nvSpPr>
        <p:spPr>
          <a:xfrm>
            <a:off x="395536" y="1124744"/>
            <a:ext cx="8280920" cy="5112568"/>
          </a:xfrm>
        </p:spPr>
        <p:txBody>
          <a:bodyPr/>
          <a:lstStyle/>
          <a:p>
            <a:pPr lvl="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+mn-lt"/>
                <a:cs typeface="Times New Roman" pitchFamily="18" charset="0"/>
              </a:rPr>
              <a:t>Implementation of the “one health approach” and AMR; advocacy for improved stock pile of vaccines-YF, meningitis, OCV</a:t>
            </a:r>
            <a:endParaRPr lang="en-US" sz="2400" dirty="0" smtClean="0">
              <a:effectLst/>
              <a:latin typeface="+mn-lt"/>
              <a:cs typeface="Times New Roman" pitchFamily="18" charset="0"/>
            </a:endParaRPr>
          </a:p>
          <a:p>
            <a:pPr lvl="0">
              <a:buFont typeface="Arial" panose="020B0604020202020204" pitchFamily="34" charset="0"/>
              <a:buChar char="•"/>
            </a:pPr>
            <a:r>
              <a:rPr lang="en-US" sz="2400" dirty="0" smtClean="0">
                <a:effectLst/>
                <a:latin typeface="+mn-lt"/>
                <a:cs typeface="Times New Roman" pitchFamily="18" charset="0"/>
              </a:rPr>
              <a:t>Strengthening IHR core capacities in low and middle income countries linked to district health system strengthening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+mn-lt"/>
                <a:cs typeface="Times New Roman" pitchFamily="18" charset="0"/>
              </a:rPr>
              <a:t>Early </a:t>
            </a:r>
            <a:r>
              <a:rPr lang="en-US" sz="2400" dirty="0">
                <a:latin typeface="+mn-lt"/>
                <a:cs typeface="Times New Roman" pitchFamily="18" charset="0"/>
              </a:rPr>
              <a:t>warning system, district and community surveillance using </a:t>
            </a:r>
            <a:r>
              <a:rPr lang="en-US" sz="2400" dirty="0" err="1">
                <a:latin typeface="+mn-lt"/>
                <a:cs typeface="Times New Roman" pitchFamily="18" charset="0"/>
              </a:rPr>
              <a:t>eSurveillance</a:t>
            </a:r>
            <a:r>
              <a:rPr lang="en-US" sz="2400" dirty="0">
                <a:latin typeface="+mn-lt"/>
                <a:cs typeface="Times New Roman" pitchFamily="18" charset="0"/>
              </a:rPr>
              <a:t> and real-time information </a:t>
            </a:r>
            <a:endParaRPr lang="en-US" sz="2400" dirty="0" smtClean="0">
              <a:effectLst/>
              <a:latin typeface="+mn-lt"/>
              <a:cs typeface="Times New Roman" pitchFamily="18" charset="0"/>
            </a:endParaRPr>
          </a:p>
          <a:p>
            <a:pPr lvl="0">
              <a:buFont typeface="Arial" panose="020B0604020202020204" pitchFamily="34" charset="0"/>
              <a:buChar char="•"/>
            </a:pPr>
            <a:r>
              <a:rPr lang="en-US" sz="2400" dirty="0" smtClean="0">
                <a:effectLst/>
                <a:latin typeface="+mn-lt"/>
                <a:cs typeface="Times New Roman" pitchFamily="18" charset="0"/>
              </a:rPr>
              <a:t>Building  </a:t>
            </a:r>
            <a:r>
              <a:rPr lang="en-US" sz="2400" dirty="0">
                <a:effectLst/>
                <a:latin typeface="+mn-lt"/>
                <a:cs typeface="Times New Roman" pitchFamily="18" charset="0"/>
              </a:rPr>
              <a:t>laboratory </a:t>
            </a:r>
            <a:r>
              <a:rPr lang="en-US" sz="2400" dirty="0" smtClean="0">
                <a:effectLst/>
                <a:latin typeface="+mn-lt"/>
                <a:cs typeface="Times New Roman" pitchFamily="18" charset="0"/>
              </a:rPr>
              <a:t>capacities, biosafety and strengthening of Infection Prevention and Control (IPC) - </a:t>
            </a:r>
            <a:r>
              <a:rPr lang="en-US" sz="2400" dirty="0" smtClean="0">
                <a:latin typeface="+mn-lt"/>
              </a:rPr>
              <a:t>Experts </a:t>
            </a:r>
            <a:r>
              <a:rPr lang="en-US" sz="2400" dirty="0">
                <a:latin typeface="+mn-lt"/>
              </a:rPr>
              <a:t>deployment during emergencies </a:t>
            </a:r>
          </a:p>
          <a:p>
            <a:pPr lvl="0"/>
            <a:endParaRPr lang="en-US" sz="2400" dirty="0">
              <a:effectLst/>
              <a:latin typeface="Calibri" pitchFamily="34" charset="0"/>
              <a:cs typeface="Times New Roman" pitchFamily="18" charset="0"/>
            </a:endParaRPr>
          </a:p>
          <a:p>
            <a:pPr marL="0" lvl="0" indent="0">
              <a:buNone/>
            </a:pPr>
            <a:r>
              <a:rPr lang="en-US" sz="2400" dirty="0" smtClean="0"/>
              <a:t> </a:t>
            </a:r>
            <a:endParaRPr lang="en-US" sz="2400" dirty="0" smtClean="0">
              <a:effectLst/>
              <a:latin typeface="Calibri" pitchFamily="34" charset="0"/>
            </a:endParaRPr>
          </a:p>
          <a:p>
            <a:pPr marL="523875" lvl="1" indent="0">
              <a:buNone/>
            </a:pPr>
            <a:endParaRPr lang="en-GB" sz="2000" dirty="0" smtClean="0">
              <a:latin typeface="Calibri" pitchFamily="34" charset="0"/>
            </a:endParaRPr>
          </a:p>
          <a:p>
            <a:pPr lvl="1"/>
            <a:endParaRPr lang="en-GB" sz="2000" dirty="0"/>
          </a:p>
          <a:p>
            <a:pPr marL="523875" lvl="1" indent="0">
              <a:buNone/>
            </a:pPr>
            <a:endParaRPr lang="en-GB" sz="2000" dirty="0" smtClean="0"/>
          </a:p>
          <a:p>
            <a:pPr lvl="1"/>
            <a:endParaRPr lang="en-GB" sz="2000" dirty="0" smtClean="0"/>
          </a:p>
          <a:p>
            <a:pPr lvl="1"/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4020360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827584" y="188640"/>
            <a:ext cx="7056784" cy="504056"/>
          </a:xfrm>
        </p:spPr>
        <p:txBody>
          <a:bodyPr rtlCol="0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3200" dirty="0" smtClean="0">
                <a:solidFill>
                  <a:schemeClr val="tx2"/>
                </a:solidFill>
              </a:rPr>
              <a:t>Partnerships, Collaboration </a:t>
            </a:r>
            <a:r>
              <a:rPr lang="en-US" sz="3200" dirty="0">
                <a:solidFill>
                  <a:schemeClr val="tx2"/>
                </a:solidFill>
              </a:rPr>
              <a:t>&amp; </a:t>
            </a:r>
            <a:r>
              <a:rPr lang="en-US" sz="3200" dirty="0" smtClean="0">
                <a:solidFill>
                  <a:schemeClr val="tx2"/>
                </a:solidFill>
              </a:rPr>
              <a:t>Advocacy</a:t>
            </a:r>
            <a:endParaRPr lang="en-US" sz="3200" b="1" dirty="0">
              <a:solidFill>
                <a:schemeClr val="tx2"/>
              </a:solidFill>
            </a:endParaRPr>
          </a:p>
        </p:txBody>
      </p:sp>
      <p:sp>
        <p:nvSpPr>
          <p:cNvPr id="2051" name="Content Placeholder 2"/>
          <p:cNvSpPr>
            <a:spLocks noGrp="1"/>
          </p:cNvSpPr>
          <p:nvPr>
            <p:ph idx="1"/>
          </p:nvPr>
        </p:nvSpPr>
        <p:spPr>
          <a:xfrm>
            <a:off x="323528" y="836712"/>
            <a:ext cx="8568952" cy="5616624"/>
          </a:xfrm>
        </p:spPr>
        <p:txBody>
          <a:bodyPr/>
          <a:lstStyle/>
          <a:p>
            <a:pPr algn="just">
              <a:buFont typeface="Arial" panose="020B0604020202020204" pitchFamily="34" charset="0"/>
              <a:buChar char="•"/>
            </a:pPr>
            <a:r>
              <a:rPr lang="en-US" sz="2000" dirty="0">
                <a:latin typeface="+mn-lt"/>
                <a:cs typeface="Times New Roman" pitchFamily="18" charset="0"/>
              </a:rPr>
              <a:t>Enhanced advocacy for </a:t>
            </a:r>
            <a:r>
              <a:rPr lang="en-US" sz="2000" b="1" dirty="0">
                <a:latin typeface="+mn-lt"/>
                <a:cs typeface="Times New Roman" pitchFamily="18" charset="0"/>
              </a:rPr>
              <a:t>IHR &amp; GHS capacity building </a:t>
            </a:r>
            <a:r>
              <a:rPr lang="en-US" sz="2000" dirty="0">
                <a:latin typeface="+mn-lt"/>
                <a:cs typeface="Times New Roman" pitchFamily="18" charset="0"/>
              </a:rPr>
              <a:t>in context of WHO emergency </a:t>
            </a:r>
            <a:r>
              <a:rPr lang="en-US" sz="2000" dirty="0" smtClean="0">
                <a:latin typeface="+mn-lt"/>
                <a:cs typeface="Times New Roman" pitchFamily="18" charset="0"/>
              </a:rPr>
              <a:t>reform</a:t>
            </a:r>
            <a:endParaRPr lang="en-US" sz="2000" dirty="0">
              <a:latin typeface="+mn-lt"/>
              <a:cs typeface="Times New Roman" pitchFamily="18" charset="0"/>
            </a:endParaRPr>
          </a:p>
          <a:p>
            <a:pPr algn="just">
              <a:buFont typeface="Arial" panose="020B0604020202020204" pitchFamily="34" charset="0"/>
              <a:buChar char="•"/>
            </a:pPr>
            <a:r>
              <a:rPr lang="en-GB" sz="2000" dirty="0" smtClean="0">
                <a:latin typeface="+mn-lt"/>
              </a:rPr>
              <a:t>Establish </a:t>
            </a:r>
            <a:r>
              <a:rPr lang="en-GB" sz="2000" dirty="0">
                <a:latin typeface="+mn-lt"/>
              </a:rPr>
              <a:t>a </a:t>
            </a:r>
            <a:r>
              <a:rPr lang="en-GB" sz="2000" b="1" dirty="0">
                <a:latin typeface="+mn-lt"/>
              </a:rPr>
              <a:t>regional partnership forum for “One health” </a:t>
            </a:r>
            <a:r>
              <a:rPr lang="en-GB" sz="2000" dirty="0">
                <a:latin typeface="+mn-lt"/>
              </a:rPr>
              <a:t>to serve as a platform for coordinated action, mobilizing resources and forging consensus among partners and Member </a:t>
            </a:r>
            <a:r>
              <a:rPr lang="en-GB" sz="2000" dirty="0" smtClean="0">
                <a:latin typeface="+mn-lt"/>
              </a:rPr>
              <a:t>States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en-GB" sz="2000" dirty="0" smtClean="0">
                <a:latin typeface="+mn-lt"/>
              </a:rPr>
              <a:t>Facilitate </a:t>
            </a:r>
            <a:r>
              <a:rPr lang="en-GB" sz="2000" dirty="0">
                <a:latin typeface="+mn-lt"/>
              </a:rPr>
              <a:t>partnerships to improve preparedness, alert and response and strengthen </a:t>
            </a:r>
            <a:r>
              <a:rPr lang="en-GB" sz="2000" b="1" dirty="0">
                <a:latin typeface="+mn-lt"/>
              </a:rPr>
              <a:t>cross-country and cross-institutional collaboration</a:t>
            </a:r>
            <a:r>
              <a:rPr lang="en-GB" sz="2000" dirty="0" smtClean="0">
                <a:latin typeface="+mn-lt"/>
              </a:rPr>
              <a:t>.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en-GB" sz="2000" dirty="0" smtClean="0">
                <a:latin typeface="+mn-lt"/>
              </a:rPr>
              <a:t>Strengthen </a:t>
            </a:r>
            <a:r>
              <a:rPr lang="en-GB" sz="2000" dirty="0">
                <a:latin typeface="+mn-lt"/>
              </a:rPr>
              <a:t>national and regional </a:t>
            </a:r>
            <a:r>
              <a:rPr lang="en-GB" sz="2000" b="1" dirty="0">
                <a:latin typeface="+mn-lt"/>
              </a:rPr>
              <a:t>networks of Research Institutes </a:t>
            </a:r>
            <a:r>
              <a:rPr lang="en-GB" sz="2000" dirty="0">
                <a:latin typeface="+mn-lt"/>
              </a:rPr>
              <a:t>to support Member States to conduct </a:t>
            </a:r>
            <a:r>
              <a:rPr lang="en-GB" sz="2000" dirty="0" smtClean="0">
                <a:latin typeface="+mn-lt"/>
              </a:rPr>
              <a:t>research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en-GB" sz="2000" dirty="0" smtClean="0">
                <a:latin typeface="+mn-lt"/>
              </a:rPr>
              <a:t>Establish </a:t>
            </a:r>
            <a:r>
              <a:rPr lang="en-GB" sz="2000" dirty="0">
                <a:latin typeface="+mn-lt"/>
              </a:rPr>
              <a:t>a </a:t>
            </a:r>
            <a:r>
              <a:rPr lang="en-GB" sz="2000" b="1" dirty="0">
                <a:latin typeface="+mn-lt"/>
              </a:rPr>
              <a:t>regional health workforce </a:t>
            </a:r>
            <a:r>
              <a:rPr lang="en-GB" sz="2000" dirty="0">
                <a:latin typeface="+mn-lt"/>
              </a:rPr>
              <a:t>to promptly respond to outbreaks and health </a:t>
            </a:r>
            <a:r>
              <a:rPr lang="en-GB" sz="2000" dirty="0" smtClean="0">
                <a:latin typeface="+mn-lt"/>
              </a:rPr>
              <a:t>emergencies.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fr-FR" sz="2000" b="1" dirty="0" smtClean="0">
                <a:latin typeface="+mn-lt"/>
              </a:rPr>
              <a:t>Collaboration with the  Africa CDC </a:t>
            </a:r>
            <a:r>
              <a:rPr lang="fr-FR" sz="2000" dirty="0" smtClean="0">
                <a:latin typeface="+mn-lt"/>
              </a:rPr>
              <a:t>and coordination of new initiatives </a:t>
            </a:r>
            <a:endParaRPr lang="en-GB" sz="2000" dirty="0">
              <a:latin typeface="+mn-lt"/>
            </a:endParaRPr>
          </a:p>
          <a:p>
            <a:pPr lvl="0"/>
            <a:endParaRPr lang="en-GB" sz="2400" dirty="0"/>
          </a:p>
          <a:p>
            <a:pPr marL="523875" lvl="1" indent="0">
              <a:buNone/>
            </a:pPr>
            <a:endParaRPr lang="en-GB" sz="2000" dirty="0" smtClean="0"/>
          </a:p>
          <a:p>
            <a:pPr lvl="1"/>
            <a:endParaRPr lang="en-GB" sz="2000" dirty="0" smtClean="0"/>
          </a:p>
          <a:p>
            <a:pPr lvl="1"/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1579804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260648"/>
            <a:ext cx="8626975" cy="325443"/>
          </a:xfrm>
        </p:spPr>
        <p:txBody>
          <a:bodyPr>
            <a:normAutofit fontScale="90000"/>
          </a:bodyPr>
          <a:lstStyle/>
          <a:p>
            <a:pPr algn="ctr"/>
            <a:r>
              <a:rPr lang="fr-FR" sz="3600" kern="12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hat the world expects of WHO in emergencies?</a:t>
            </a:r>
          </a:p>
        </p:txBody>
      </p:sp>
      <p:sp>
        <p:nvSpPr>
          <p:cNvPr id="3" name="Rectangle 2"/>
          <p:cNvSpPr/>
          <p:nvPr/>
        </p:nvSpPr>
        <p:spPr>
          <a:xfrm>
            <a:off x="1066018" y="1303662"/>
            <a:ext cx="805158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620" lvl="1" defTabSz="913526">
              <a:lnSpc>
                <a:spcPct val="150000"/>
              </a:lnSpc>
              <a:buClr>
                <a:srgbClr val="72645D"/>
              </a:buClr>
              <a:buSzPct val="125000"/>
              <a:defRPr/>
            </a:pPr>
            <a:r>
              <a:rPr lang="en-GB" sz="2000" b="1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Single approach </a:t>
            </a:r>
            <a:r>
              <a:rPr lang="en-GB" sz="2000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for </a:t>
            </a:r>
            <a:r>
              <a:rPr lang="en-GB" sz="2000" i="1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all </a:t>
            </a:r>
            <a:r>
              <a:rPr lang="en-GB" sz="2000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emergencies </a:t>
            </a:r>
            <a:r>
              <a:rPr lang="en-GB" sz="1800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(outbreaks, disasters, etc)</a:t>
            </a:r>
            <a:endParaRPr lang="en-GB" sz="200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28" name="Group 27"/>
          <p:cNvGrpSpPr/>
          <p:nvPr/>
        </p:nvGrpSpPr>
        <p:grpSpPr>
          <a:xfrm>
            <a:off x="437966" y="1157358"/>
            <a:ext cx="433388" cy="857250"/>
            <a:chOff x="315912" y="731838"/>
            <a:chExt cx="433388" cy="857250"/>
          </a:xfrm>
        </p:grpSpPr>
        <p:sp>
          <p:nvSpPr>
            <p:cNvPr id="18" name="Rectangle 12"/>
            <p:cNvSpPr>
              <a:spLocks noChangeArrowheads="1"/>
            </p:cNvSpPr>
            <p:nvPr/>
          </p:nvSpPr>
          <p:spPr bwMode="gray">
            <a:xfrm flipH="1">
              <a:off x="315912" y="731838"/>
              <a:ext cx="433388" cy="857250"/>
            </a:xfrm>
            <a:prstGeom prst="rect">
              <a:avLst/>
            </a:prstGeom>
            <a:solidFill>
              <a:srgbClr val="C7E0FB"/>
            </a:solidFill>
            <a:ln w="19050">
              <a:solidFill>
                <a:srgbClr val="C7E0FB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9" name="WordArt 13"/>
            <p:cNvSpPr>
              <a:spLocks noChangeArrowheads="1" noChangeShapeType="1" noTextEdit="1"/>
            </p:cNvSpPr>
            <p:nvPr/>
          </p:nvSpPr>
          <p:spPr bwMode="gray">
            <a:xfrm>
              <a:off x="447675" y="957263"/>
              <a:ext cx="168275" cy="419100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600" kern="10">
                  <a:solidFill>
                    <a:srgbClr val="002960"/>
                  </a:solidFill>
                  <a:latin typeface="Arial Black"/>
                </a:rPr>
                <a:t>1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437966" y="4527771"/>
            <a:ext cx="433388" cy="857250"/>
            <a:chOff x="315912" y="3465513"/>
            <a:chExt cx="433388" cy="857250"/>
          </a:xfrm>
        </p:grpSpPr>
        <p:sp>
          <p:nvSpPr>
            <p:cNvPr id="20" name="Rectangle 18"/>
            <p:cNvSpPr>
              <a:spLocks noChangeArrowheads="1"/>
            </p:cNvSpPr>
            <p:nvPr/>
          </p:nvSpPr>
          <p:spPr bwMode="gray">
            <a:xfrm flipH="1">
              <a:off x="315912" y="3465513"/>
              <a:ext cx="433388" cy="857250"/>
            </a:xfrm>
            <a:prstGeom prst="rect">
              <a:avLst/>
            </a:prstGeom>
            <a:solidFill>
              <a:srgbClr val="C7E0FB"/>
            </a:solidFill>
            <a:ln w="19050">
              <a:solidFill>
                <a:srgbClr val="C7E0FB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" name="WordArt 19"/>
            <p:cNvSpPr>
              <a:spLocks noChangeArrowheads="1" noChangeShapeType="1" noTextEdit="1"/>
            </p:cNvSpPr>
            <p:nvPr/>
          </p:nvSpPr>
          <p:spPr bwMode="gray">
            <a:xfrm>
              <a:off x="409575" y="3686175"/>
              <a:ext cx="244475" cy="417513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600" kern="10" dirty="0">
                  <a:solidFill>
                    <a:srgbClr val="002960"/>
                  </a:solidFill>
                  <a:latin typeface="Arial Black"/>
                </a:rPr>
                <a:t>4</a:t>
              </a: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437966" y="3404300"/>
            <a:ext cx="433388" cy="857250"/>
            <a:chOff x="315912" y="2554288"/>
            <a:chExt cx="433388" cy="857250"/>
          </a:xfrm>
        </p:grpSpPr>
        <p:sp>
          <p:nvSpPr>
            <p:cNvPr id="24" name="Rectangle 31"/>
            <p:cNvSpPr>
              <a:spLocks noChangeArrowheads="1"/>
            </p:cNvSpPr>
            <p:nvPr/>
          </p:nvSpPr>
          <p:spPr bwMode="gray">
            <a:xfrm flipH="1">
              <a:off x="315912" y="2554288"/>
              <a:ext cx="433388" cy="857250"/>
            </a:xfrm>
            <a:prstGeom prst="rect">
              <a:avLst/>
            </a:prstGeom>
            <a:solidFill>
              <a:srgbClr val="C7E0FB"/>
            </a:solidFill>
            <a:ln w="19050">
              <a:solidFill>
                <a:srgbClr val="C7E0FB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5" name="WordArt 32"/>
            <p:cNvSpPr>
              <a:spLocks noChangeArrowheads="1" noChangeShapeType="1" noTextEdit="1"/>
            </p:cNvSpPr>
            <p:nvPr/>
          </p:nvSpPr>
          <p:spPr bwMode="gray">
            <a:xfrm>
              <a:off x="409575" y="2773363"/>
              <a:ext cx="244475" cy="417512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600" kern="10" dirty="0">
                  <a:solidFill>
                    <a:srgbClr val="002960"/>
                  </a:solidFill>
                  <a:latin typeface="Arial Black"/>
                </a:rPr>
                <a:t>3</a:t>
              </a: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437966" y="2280829"/>
            <a:ext cx="433388" cy="857250"/>
            <a:chOff x="315912" y="1643063"/>
            <a:chExt cx="433388" cy="857250"/>
          </a:xfrm>
        </p:grpSpPr>
        <p:sp>
          <p:nvSpPr>
            <p:cNvPr id="26" name="Rectangle 36"/>
            <p:cNvSpPr>
              <a:spLocks noChangeArrowheads="1"/>
            </p:cNvSpPr>
            <p:nvPr/>
          </p:nvSpPr>
          <p:spPr bwMode="gray">
            <a:xfrm flipH="1">
              <a:off x="315912" y="1643063"/>
              <a:ext cx="433388" cy="857250"/>
            </a:xfrm>
            <a:prstGeom prst="rect">
              <a:avLst/>
            </a:prstGeom>
            <a:solidFill>
              <a:srgbClr val="C7E0FB"/>
            </a:solidFill>
            <a:ln w="19050">
              <a:solidFill>
                <a:srgbClr val="C7E0FB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7" name="WordArt 37"/>
            <p:cNvSpPr>
              <a:spLocks noChangeArrowheads="1" noChangeShapeType="1" noTextEdit="1"/>
            </p:cNvSpPr>
            <p:nvPr/>
          </p:nvSpPr>
          <p:spPr bwMode="gray">
            <a:xfrm>
              <a:off x="409575" y="1863725"/>
              <a:ext cx="244475" cy="417513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3600" kern="10" dirty="0">
                  <a:solidFill>
                    <a:srgbClr val="002960"/>
                  </a:solidFill>
                  <a:latin typeface="Arial Black"/>
                </a:rPr>
                <a:t>2</a:t>
              </a:r>
            </a:p>
          </p:txBody>
        </p:sp>
      </p:grpSp>
      <p:sp>
        <p:nvSpPr>
          <p:cNvPr id="45" name="Rectangle 44"/>
          <p:cNvSpPr/>
          <p:nvPr/>
        </p:nvSpPr>
        <p:spPr>
          <a:xfrm>
            <a:off x="1066018" y="2436277"/>
            <a:ext cx="787452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620" lvl="1" defTabSz="913526">
              <a:lnSpc>
                <a:spcPct val="150000"/>
              </a:lnSpc>
              <a:buClr>
                <a:srgbClr val="72645D"/>
              </a:buClr>
              <a:buSzPct val="125000"/>
              <a:defRPr/>
            </a:pPr>
            <a:r>
              <a:rPr lang="en-GB" sz="2000" b="1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Standardized </a:t>
            </a:r>
            <a:r>
              <a:rPr lang="en-GB" sz="2000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across all 3 levels &amp; all 7 major offices</a:t>
            </a:r>
            <a:r>
              <a:rPr lang="en-GB" sz="2000" b="1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 </a:t>
            </a:r>
          </a:p>
        </p:txBody>
      </p:sp>
      <p:sp>
        <p:nvSpPr>
          <p:cNvPr id="50" name="Rectangle 49"/>
          <p:cNvSpPr/>
          <p:nvPr/>
        </p:nvSpPr>
        <p:spPr>
          <a:xfrm>
            <a:off x="1066018" y="4684046"/>
            <a:ext cx="7974460" cy="496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620" lvl="1" defTabSz="913526">
              <a:lnSpc>
                <a:spcPct val="150000"/>
              </a:lnSpc>
              <a:buClr>
                <a:srgbClr val="72645D"/>
              </a:buClr>
              <a:buSzPct val="125000"/>
              <a:defRPr/>
            </a:pPr>
            <a:r>
              <a:rPr lang="en-GB" sz="2000" b="1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Optimize WHO political access &amp; technical expertise</a:t>
            </a:r>
            <a:endParaRPr lang="en-GB" sz="200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1075162" y="3566410"/>
            <a:ext cx="7874523" cy="496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620" lvl="1" defTabSz="913526">
              <a:lnSpc>
                <a:spcPct val="150000"/>
              </a:lnSpc>
              <a:buClr>
                <a:srgbClr val="72645D"/>
              </a:buClr>
              <a:buSzPct val="125000"/>
              <a:defRPr/>
            </a:pPr>
            <a:r>
              <a:rPr lang="en-GB" sz="2000" b="1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Leverage &amp; facilitate </a:t>
            </a:r>
            <a:r>
              <a:rPr lang="en-GB" sz="2000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UN, partners &amp; disaster </a:t>
            </a:r>
            <a:r>
              <a:rPr lang="en-GB" sz="2000" dirty="0" err="1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mgmt</a:t>
            </a:r>
            <a:r>
              <a:rPr lang="en-GB" sz="2000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 systems</a:t>
            </a:r>
            <a:endParaRPr lang="en-GB" sz="200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066021" y="2155565"/>
            <a:ext cx="7475511" cy="2239342"/>
            <a:chOff x="936969" y="2013269"/>
            <a:chExt cx="7874522" cy="2239342"/>
          </a:xfrm>
        </p:grpSpPr>
        <p:sp>
          <p:nvSpPr>
            <p:cNvPr id="54" name="Line 22"/>
            <p:cNvSpPr>
              <a:spLocks noChangeShapeType="1"/>
            </p:cNvSpPr>
            <p:nvPr/>
          </p:nvSpPr>
          <p:spPr bwMode="gray">
            <a:xfrm flipV="1">
              <a:off x="936969" y="2013269"/>
              <a:ext cx="7874522" cy="5665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5" name="Line 22"/>
            <p:cNvSpPr>
              <a:spLocks noChangeShapeType="1"/>
            </p:cNvSpPr>
            <p:nvPr/>
          </p:nvSpPr>
          <p:spPr bwMode="gray">
            <a:xfrm flipV="1">
              <a:off x="936969" y="3130131"/>
              <a:ext cx="7874522" cy="5665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1" name="Line 22"/>
            <p:cNvSpPr>
              <a:spLocks noChangeShapeType="1"/>
            </p:cNvSpPr>
            <p:nvPr/>
          </p:nvSpPr>
          <p:spPr bwMode="gray">
            <a:xfrm flipV="1">
              <a:off x="936969" y="4246946"/>
              <a:ext cx="7874522" cy="5665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00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437966" y="5568248"/>
            <a:ext cx="433388" cy="857250"/>
            <a:chOff x="4835957" y="1218262"/>
            <a:chExt cx="433388" cy="857250"/>
          </a:xfrm>
        </p:grpSpPr>
        <p:sp>
          <p:nvSpPr>
            <p:cNvPr id="35" name="Rectangle 12"/>
            <p:cNvSpPr>
              <a:spLocks noChangeArrowheads="1"/>
            </p:cNvSpPr>
            <p:nvPr/>
          </p:nvSpPr>
          <p:spPr bwMode="gray">
            <a:xfrm flipH="1">
              <a:off x="4835957" y="1218262"/>
              <a:ext cx="433388" cy="857250"/>
            </a:xfrm>
            <a:prstGeom prst="rect">
              <a:avLst/>
            </a:prstGeom>
            <a:solidFill>
              <a:srgbClr val="C7E0FB"/>
            </a:solidFill>
            <a:ln w="19050">
              <a:solidFill>
                <a:srgbClr val="C7E0FB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" name="WordArt 13"/>
            <p:cNvSpPr>
              <a:spLocks noChangeArrowheads="1" noChangeShapeType="1" noTextEdit="1"/>
            </p:cNvSpPr>
            <p:nvPr/>
          </p:nvSpPr>
          <p:spPr bwMode="gray">
            <a:xfrm>
              <a:off x="4929620" y="1443687"/>
              <a:ext cx="206375" cy="419100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4400" kern="10" dirty="0">
                  <a:solidFill>
                    <a:srgbClr val="002960"/>
                  </a:solidFill>
                  <a:latin typeface="Arial Black"/>
                </a:rPr>
                <a:t>5</a:t>
              </a:r>
            </a:p>
          </p:txBody>
        </p:sp>
      </p:grpSp>
      <p:sp>
        <p:nvSpPr>
          <p:cNvPr id="37" name="Line 22"/>
          <p:cNvSpPr>
            <a:spLocks noChangeShapeType="1"/>
          </p:cNvSpPr>
          <p:nvPr/>
        </p:nvSpPr>
        <p:spPr bwMode="gray">
          <a:xfrm flipV="1">
            <a:off x="1071779" y="5499128"/>
            <a:ext cx="7475511" cy="5665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0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1016049" y="5543837"/>
            <a:ext cx="797446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620" lvl="1" defTabSz="913526">
              <a:lnSpc>
                <a:spcPct val="150000"/>
              </a:lnSpc>
              <a:buClr>
                <a:srgbClr val="72645D"/>
              </a:buClr>
              <a:buSzPct val="125000"/>
              <a:defRPr/>
            </a:pPr>
            <a:r>
              <a:rPr lang="en-GB" sz="2000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Operate across the </a:t>
            </a:r>
            <a:r>
              <a:rPr lang="en-GB" sz="2000" b="1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emergency management cycle</a:t>
            </a:r>
            <a:endParaRPr lang="en-GB" sz="200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99603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5782" y="286254"/>
            <a:ext cx="8794113" cy="369332"/>
          </a:xfrm>
        </p:spPr>
        <p:txBody>
          <a:bodyPr>
            <a:no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en-US" sz="3600" dirty="0">
                <a:solidFill>
                  <a:srgbClr val="002060"/>
                </a:solidFill>
              </a:rPr>
              <a:t>WHO’s new Health Emergencies </a:t>
            </a:r>
            <a:r>
              <a:rPr lang="en-US" sz="3600" dirty="0" err="1" smtClean="0">
                <a:solidFill>
                  <a:srgbClr val="002060"/>
                </a:solidFill>
              </a:rPr>
              <a:t>Programme</a:t>
            </a:r>
            <a:endParaRPr lang="en-GB" sz="3600" kern="12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Rectangle 47"/>
          <p:cNvSpPr txBox="1">
            <a:spLocks noChangeArrowheads="1"/>
          </p:cNvSpPr>
          <p:nvPr/>
        </p:nvSpPr>
        <p:spPr bwMode="gray">
          <a:xfrm>
            <a:off x="6620488" y="1284895"/>
            <a:ext cx="1965727" cy="44319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120000"/>
              </a:lnSpc>
              <a:buClr>
                <a:srgbClr val="72645D"/>
              </a:buClr>
            </a:pPr>
            <a:r>
              <a:rPr lang="en-US" sz="2400" i="1" dirty="0">
                <a:solidFill>
                  <a:srgbClr val="004A99"/>
                </a:solidFill>
              </a:rPr>
              <a:t>'</a:t>
            </a:r>
            <a:r>
              <a:rPr lang="en-US" sz="2400" i="1" dirty="0" smtClean="0">
                <a:solidFill>
                  <a:srgbClr val="004A99"/>
                </a:solidFill>
              </a:rPr>
              <a:t>A </a:t>
            </a:r>
            <a:r>
              <a:rPr lang="en-US" sz="2400" i="1" dirty="0">
                <a:solidFill>
                  <a:srgbClr val="004A99"/>
                </a:solidFill>
              </a:rPr>
              <a:t>quicker, </a:t>
            </a:r>
            <a:r>
              <a:rPr lang="en-US" sz="2400" i="1" dirty="0" smtClean="0">
                <a:solidFill>
                  <a:srgbClr val="004A99"/>
                </a:solidFill>
              </a:rPr>
              <a:t>predictable</a:t>
            </a:r>
            <a:r>
              <a:rPr lang="en-US" sz="2400" i="1" dirty="0">
                <a:solidFill>
                  <a:srgbClr val="004A99"/>
                </a:solidFill>
              </a:rPr>
              <a:t>, dependable, </a:t>
            </a:r>
            <a:r>
              <a:rPr lang="en-US" sz="2400" i="1" dirty="0" smtClean="0">
                <a:solidFill>
                  <a:srgbClr val="004A99"/>
                </a:solidFill>
              </a:rPr>
              <a:t>&amp; capable WHO </a:t>
            </a:r>
            <a:r>
              <a:rPr lang="en-US" sz="2400" i="1" dirty="0">
                <a:solidFill>
                  <a:srgbClr val="004A99"/>
                </a:solidFill>
              </a:rPr>
              <a:t>in support of people at </a:t>
            </a:r>
            <a:endParaRPr lang="en-US" sz="2400" i="1" dirty="0" smtClean="0">
              <a:solidFill>
                <a:srgbClr val="004A99"/>
              </a:solidFill>
            </a:endParaRPr>
          </a:p>
          <a:p>
            <a:pPr algn="ctr">
              <a:lnSpc>
                <a:spcPct val="120000"/>
              </a:lnSpc>
              <a:buClr>
                <a:srgbClr val="72645D"/>
              </a:buClr>
            </a:pPr>
            <a:r>
              <a:rPr lang="en-US" sz="2400" i="1" dirty="0" smtClean="0">
                <a:solidFill>
                  <a:srgbClr val="004A99"/>
                </a:solidFill>
              </a:rPr>
              <a:t>risk </a:t>
            </a:r>
            <a:r>
              <a:rPr lang="en-US" sz="2400" i="1" dirty="0">
                <a:solidFill>
                  <a:srgbClr val="004A99"/>
                </a:solidFill>
              </a:rPr>
              <a:t>of, or affected by, </a:t>
            </a:r>
            <a:r>
              <a:rPr lang="en-US" sz="2400" i="1" dirty="0" smtClean="0">
                <a:solidFill>
                  <a:srgbClr val="004A99"/>
                </a:solidFill>
              </a:rPr>
              <a:t>emergencies'</a:t>
            </a:r>
            <a:endParaRPr lang="en-US" sz="2400" i="1" dirty="0">
              <a:solidFill>
                <a:srgbClr val="004A99"/>
              </a:solidFill>
            </a:endParaRPr>
          </a:p>
        </p:txBody>
      </p:sp>
      <p:grpSp>
        <p:nvGrpSpPr>
          <p:cNvPr id="33" name="Group 32"/>
          <p:cNvGrpSpPr/>
          <p:nvPr/>
        </p:nvGrpSpPr>
        <p:grpSpPr>
          <a:xfrm>
            <a:off x="2479559" y="4723994"/>
            <a:ext cx="846138" cy="844550"/>
            <a:chOff x="2015667" y="4782157"/>
            <a:chExt cx="846138" cy="844550"/>
          </a:xfrm>
        </p:grpSpPr>
        <p:sp>
          <p:nvSpPr>
            <p:cNvPr id="20" name="Oval 16"/>
            <p:cNvSpPr>
              <a:spLocks noChangeAspect="1" noChangeArrowheads="1"/>
            </p:cNvSpPr>
            <p:nvPr/>
          </p:nvSpPr>
          <p:spPr bwMode="gray">
            <a:xfrm>
              <a:off x="2015667" y="4782157"/>
              <a:ext cx="846138" cy="84455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endParaRPr lang="en-GB" sz="2000">
                <a:solidFill>
                  <a:srgbClr val="E37222"/>
                </a:solidFill>
                <a:latin typeface="Arial"/>
              </a:endParaRPr>
            </a:p>
          </p:txBody>
        </p:sp>
        <p:pic>
          <p:nvPicPr>
            <p:cNvPr id="11" name="Picture 80" descr="Untitled-2"/>
            <p:cNvPicPr>
              <a:picLocks noChangeAspect="1" noChangeArrowheads="1"/>
            </p:cNvPicPr>
            <p:nvPr>
              <p:custDataLst>
                <p:tags r:id="rId3"/>
              </p:custDataLst>
            </p:nvPr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137905" y="4902050"/>
              <a:ext cx="608013" cy="603250"/>
            </a:xfrm>
            <a:prstGeom prst="rect">
              <a:avLst/>
            </a:prstGeom>
            <a:solidFill>
              <a:schemeClr val="accent2"/>
            </a:solidFill>
            <a:extLst/>
          </p:spPr>
        </p:pic>
      </p:grpSp>
      <p:sp>
        <p:nvSpPr>
          <p:cNvPr id="12" name="Rectangle 7"/>
          <p:cNvSpPr>
            <a:spLocks noChangeArrowheads="1"/>
          </p:cNvSpPr>
          <p:nvPr/>
        </p:nvSpPr>
        <p:spPr bwMode="gray">
          <a:xfrm>
            <a:off x="3890170" y="3904827"/>
            <a:ext cx="1518284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r>
              <a:rPr lang="en-US" sz="1800" dirty="0">
                <a:solidFill>
                  <a:srgbClr val="000000"/>
                </a:solidFill>
              </a:rPr>
              <a:t>One line of accountability</a:t>
            </a:r>
          </a:p>
        </p:txBody>
      </p:sp>
      <p:sp>
        <p:nvSpPr>
          <p:cNvPr id="16" name="Rectangle 10"/>
          <p:cNvSpPr>
            <a:spLocks noChangeArrowheads="1"/>
          </p:cNvSpPr>
          <p:nvPr/>
        </p:nvSpPr>
        <p:spPr bwMode="gray">
          <a:xfrm>
            <a:off x="3914964" y="2970330"/>
            <a:ext cx="127921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r>
              <a:rPr lang="en-US" sz="1800" dirty="0">
                <a:solidFill>
                  <a:srgbClr val="000000"/>
                </a:solidFill>
              </a:rPr>
              <a:t>One budget</a:t>
            </a:r>
          </a:p>
        </p:txBody>
      </p:sp>
      <p:sp>
        <p:nvSpPr>
          <p:cNvPr id="17" name="Oval 16"/>
          <p:cNvSpPr>
            <a:spLocks noChangeAspect="1" noChangeArrowheads="1"/>
          </p:cNvSpPr>
          <p:nvPr/>
        </p:nvSpPr>
        <p:spPr bwMode="gray">
          <a:xfrm>
            <a:off x="2968814" y="2699000"/>
            <a:ext cx="846138" cy="844550"/>
          </a:xfrm>
          <a:prstGeom prst="ellipse">
            <a:avLst/>
          </a:prstGeom>
          <a:solidFill>
            <a:srgbClr val="759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2000">
              <a:solidFill>
                <a:srgbClr val="E37222"/>
              </a:solidFill>
              <a:latin typeface="Arial"/>
            </a:endParaRPr>
          </a:p>
        </p:txBody>
      </p:sp>
      <p:sp>
        <p:nvSpPr>
          <p:cNvPr id="19" name="Rectangle 10"/>
          <p:cNvSpPr>
            <a:spLocks noChangeArrowheads="1"/>
          </p:cNvSpPr>
          <p:nvPr/>
        </p:nvSpPr>
        <p:spPr bwMode="gray">
          <a:xfrm>
            <a:off x="3441929" y="4869270"/>
            <a:ext cx="2172041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r>
              <a:rPr lang="en-US" sz="1800" dirty="0">
                <a:solidFill>
                  <a:srgbClr val="000000"/>
                </a:solidFill>
              </a:rPr>
              <a:t>One set of processes/systems</a:t>
            </a:r>
          </a:p>
        </p:txBody>
      </p:sp>
      <p:sp>
        <p:nvSpPr>
          <p:cNvPr id="22" name="Rectangle 9"/>
          <p:cNvSpPr>
            <a:spLocks noChangeArrowheads="1"/>
          </p:cNvSpPr>
          <p:nvPr/>
        </p:nvSpPr>
        <p:spPr bwMode="gray">
          <a:xfrm>
            <a:off x="3513022" y="1925331"/>
            <a:ext cx="1188693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r>
              <a:rPr lang="en-US" sz="1800" dirty="0">
                <a:solidFill>
                  <a:srgbClr val="000000"/>
                </a:solidFill>
              </a:rPr>
              <a:t>One workforce</a:t>
            </a:r>
          </a:p>
        </p:txBody>
      </p:sp>
      <p:sp>
        <p:nvSpPr>
          <p:cNvPr id="23" name="Oval 13"/>
          <p:cNvSpPr>
            <a:spLocks noChangeAspect="1" noChangeArrowheads="1"/>
          </p:cNvSpPr>
          <p:nvPr/>
        </p:nvSpPr>
        <p:spPr bwMode="gray">
          <a:xfrm>
            <a:off x="2565285" y="1780056"/>
            <a:ext cx="846137" cy="844550"/>
          </a:xfrm>
          <a:prstGeom prst="ellipse">
            <a:avLst/>
          </a:prstGeom>
          <a:solidFill>
            <a:srgbClr val="A3BD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2000">
              <a:solidFill>
                <a:srgbClr val="E37222"/>
              </a:solidFill>
              <a:latin typeface="Arial"/>
            </a:endParaRPr>
          </a:p>
        </p:txBody>
      </p:sp>
      <p:sp>
        <p:nvSpPr>
          <p:cNvPr id="25" name="Rectangle 10"/>
          <p:cNvSpPr>
            <a:spLocks noChangeArrowheads="1"/>
          </p:cNvSpPr>
          <p:nvPr/>
        </p:nvSpPr>
        <p:spPr bwMode="gray">
          <a:xfrm>
            <a:off x="2611690" y="1284895"/>
            <a:ext cx="2173628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r>
              <a:rPr lang="en-US" sz="1800" dirty="0">
                <a:solidFill>
                  <a:srgbClr val="000000"/>
                </a:solidFill>
              </a:rPr>
              <a:t>One emergency programme</a:t>
            </a:r>
          </a:p>
        </p:txBody>
      </p:sp>
      <p:sp>
        <p:nvSpPr>
          <p:cNvPr id="26" name="Oval 14"/>
          <p:cNvSpPr>
            <a:spLocks noChangeAspect="1" noChangeArrowheads="1"/>
          </p:cNvSpPr>
          <p:nvPr/>
        </p:nvSpPr>
        <p:spPr bwMode="gray">
          <a:xfrm>
            <a:off x="1635053" y="1008530"/>
            <a:ext cx="846138" cy="844550"/>
          </a:xfrm>
          <a:prstGeom prst="ellipse">
            <a:avLst/>
          </a:prstGeom>
          <a:solidFill>
            <a:srgbClr val="B0D3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2000">
              <a:solidFill>
                <a:srgbClr val="E37222"/>
              </a:solidFill>
              <a:latin typeface="Arial"/>
            </a:endParaRPr>
          </a:p>
        </p:txBody>
      </p:sp>
      <p:pic>
        <p:nvPicPr>
          <p:cNvPr id="27" name="Picture 30" descr="Untitled-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687441" y="1230780"/>
            <a:ext cx="723900" cy="40005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9" name="Picture 23" descr="communication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251786" y="817963"/>
            <a:ext cx="546100" cy="47783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13410" name="Picture 2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430" t="13955" r="20369" b="30878"/>
          <a:stretch/>
        </p:blipFill>
        <p:spPr bwMode="auto">
          <a:xfrm>
            <a:off x="-36512" y="1672086"/>
            <a:ext cx="2861805" cy="367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4" name="McK DirArrow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5400000">
            <a:off x="4851831" y="3316804"/>
            <a:ext cx="2462115" cy="347664"/>
          </a:xfrm>
          <a:prstGeom prst="triangle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40" name="Group 39"/>
          <p:cNvGrpSpPr/>
          <p:nvPr/>
        </p:nvGrpSpPr>
        <p:grpSpPr>
          <a:xfrm>
            <a:off x="2878296" y="3759551"/>
            <a:ext cx="846137" cy="844550"/>
            <a:chOff x="2631470" y="3937607"/>
            <a:chExt cx="846137" cy="844550"/>
          </a:xfrm>
        </p:grpSpPr>
        <p:sp>
          <p:nvSpPr>
            <p:cNvPr id="36" name="Oval 15"/>
            <p:cNvSpPr>
              <a:spLocks noChangeAspect="1" noChangeArrowheads="1"/>
            </p:cNvSpPr>
            <p:nvPr/>
          </p:nvSpPr>
          <p:spPr bwMode="gray">
            <a:xfrm>
              <a:off x="2631470" y="3937607"/>
              <a:ext cx="846137" cy="844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endParaRPr lang="en-GB" sz="2000">
                <a:solidFill>
                  <a:srgbClr val="E37222"/>
                </a:solidFill>
                <a:latin typeface="Arial"/>
              </a:endParaRPr>
            </a:p>
          </p:txBody>
        </p:sp>
        <p:pic>
          <p:nvPicPr>
            <p:cNvPr id="37" name="Picture 23" descr="communication 2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780695" y="4120963"/>
              <a:ext cx="546100" cy="477838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8" name="Picture 24" descr="handshak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651009" y="2057966"/>
            <a:ext cx="674688" cy="40322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14" descr="Untitled-5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125977" y="2902200"/>
            <a:ext cx="531812" cy="43815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Rectangle 10"/>
          <p:cNvSpPr>
            <a:spLocks noChangeArrowheads="1"/>
          </p:cNvSpPr>
          <p:nvPr/>
        </p:nvSpPr>
        <p:spPr bwMode="gray">
          <a:xfrm>
            <a:off x="2481191" y="5747965"/>
            <a:ext cx="248984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r>
              <a:rPr lang="en-US" sz="1800" dirty="0">
                <a:solidFill>
                  <a:srgbClr val="000000"/>
                </a:solidFill>
              </a:rPr>
              <a:t>One set of </a:t>
            </a:r>
            <a:r>
              <a:rPr lang="en-US" sz="1800" dirty="0" smtClean="0">
                <a:solidFill>
                  <a:srgbClr val="000000"/>
                </a:solidFill>
              </a:rPr>
              <a:t>benchmarks</a:t>
            </a:r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39" name="Oval 16"/>
          <p:cNvSpPr>
            <a:spLocks noChangeAspect="1" noChangeArrowheads="1"/>
          </p:cNvSpPr>
          <p:nvPr/>
        </p:nvSpPr>
        <p:spPr bwMode="gray">
          <a:xfrm>
            <a:off x="1565203" y="5296830"/>
            <a:ext cx="846138" cy="84455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GB" sz="2000">
              <a:solidFill>
                <a:srgbClr val="E37222"/>
              </a:solidFill>
              <a:latin typeface="Arial"/>
            </a:endParaRPr>
          </a:p>
        </p:txBody>
      </p:sp>
      <p:pic>
        <p:nvPicPr>
          <p:cNvPr id="42" name="Picture 41"/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909" t="14757" r="20793" b="12996"/>
          <a:stretch/>
        </p:blipFill>
        <p:spPr>
          <a:xfrm>
            <a:off x="1662803" y="5401571"/>
            <a:ext cx="650938" cy="623393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15744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84539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96850" y="201613"/>
            <a:ext cx="833559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880152" eaLnBrk="0" hangingPunct="0">
              <a:spcBef>
                <a:spcPct val="0"/>
              </a:spcBef>
              <a:defRPr/>
            </a:pPr>
            <a:r>
              <a:rPr lang="en-GB" sz="36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itchFamily="34" charset="0"/>
                <a:cs typeface="Calibri" panose="020F0502020204030204" pitchFamily="34" charset="0"/>
              </a:rPr>
              <a:t>All hazards approach</a:t>
            </a:r>
          </a:p>
        </p:txBody>
      </p:sp>
      <p:grpSp>
        <p:nvGrpSpPr>
          <p:cNvPr id="62" name="ACET 2"/>
          <p:cNvGrpSpPr>
            <a:grpSpLocks/>
          </p:cNvGrpSpPr>
          <p:nvPr/>
        </p:nvGrpSpPr>
        <p:grpSpPr bwMode="auto">
          <a:xfrm>
            <a:off x="107503" y="1391186"/>
            <a:ext cx="4392487" cy="325378"/>
            <a:chOff x="915" y="861"/>
            <a:chExt cx="2686" cy="169"/>
          </a:xfrm>
        </p:grpSpPr>
        <p:cxnSp>
          <p:nvCxnSpPr>
            <p:cNvPr id="81" name="AutoShape 249"/>
            <p:cNvCxnSpPr>
              <a:cxnSpLocks noChangeShapeType="1"/>
              <a:stCxn id="82" idx="4"/>
              <a:endCxn id="82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82" name="AutoShape 250"/>
            <p:cNvSpPr>
              <a:spLocks noChangeArrowheads="1"/>
            </p:cNvSpPr>
            <p:nvPr/>
          </p:nvSpPr>
          <p:spPr bwMode="auto">
            <a:xfrm>
              <a:off x="915" y="861"/>
              <a:ext cx="2686" cy="16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2000" b="1" dirty="0" smtClean="0">
                  <a:solidFill>
                    <a:prstClr val="black"/>
                  </a:solidFill>
                  <a:latin typeface="Calibri"/>
                </a:rPr>
                <a:t>Hazard</a:t>
              </a:r>
              <a:endParaRPr lang="en-US" sz="2000" dirty="0">
                <a:solidFill>
                  <a:srgbClr val="808080"/>
                </a:solidFill>
                <a:latin typeface="Calibri"/>
              </a:endParaRPr>
            </a:p>
          </p:txBody>
        </p:sp>
      </p:grpSp>
      <p:grpSp>
        <p:nvGrpSpPr>
          <p:cNvPr id="83" name="ACET 2"/>
          <p:cNvGrpSpPr>
            <a:grpSpLocks/>
          </p:cNvGrpSpPr>
          <p:nvPr/>
        </p:nvGrpSpPr>
        <p:grpSpPr bwMode="auto">
          <a:xfrm>
            <a:off x="4644008" y="1387065"/>
            <a:ext cx="4392488" cy="327324"/>
            <a:chOff x="915" y="883"/>
            <a:chExt cx="2686" cy="147"/>
          </a:xfrm>
        </p:grpSpPr>
        <p:cxnSp>
          <p:nvCxnSpPr>
            <p:cNvPr id="84" name="AutoShape 249"/>
            <p:cNvCxnSpPr>
              <a:cxnSpLocks noChangeShapeType="1"/>
              <a:stCxn id="85" idx="4"/>
              <a:endCxn id="85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85" name="AutoShape 250"/>
            <p:cNvSpPr>
              <a:spLocks noChangeArrowheads="1"/>
            </p:cNvSpPr>
            <p:nvPr/>
          </p:nvSpPr>
          <p:spPr bwMode="auto">
            <a:xfrm>
              <a:off x="915" y="883"/>
              <a:ext cx="2686" cy="1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2000" b="1" dirty="0" smtClean="0">
                  <a:solidFill>
                    <a:prstClr val="black"/>
                  </a:solidFill>
                  <a:latin typeface="Calibri"/>
                </a:rPr>
                <a:t>Event</a:t>
              </a:r>
              <a:endParaRPr lang="en-US" sz="2000" dirty="0">
                <a:solidFill>
                  <a:srgbClr val="808080"/>
                </a:solidFill>
                <a:latin typeface="Calibri"/>
              </a:endParaRPr>
            </a:p>
          </p:txBody>
        </p:sp>
      </p:grpSp>
      <p:sp>
        <p:nvSpPr>
          <p:cNvPr id="110" name="TextBox 109"/>
          <p:cNvSpPr txBox="1"/>
          <p:nvPr/>
        </p:nvSpPr>
        <p:spPr>
          <a:xfrm>
            <a:off x="3335046" y="2719665"/>
            <a:ext cx="1164946" cy="64163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rgbClr val="C00000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 dirty="0"/>
              <a:t>Radiation</a:t>
            </a:r>
          </a:p>
        </p:txBody>
      </p:sp>
      <p:sp>
        <p:nvSpPr>
          <p:cNvPr id="111" name="TextBox 110"/>
          <p:cNvSpPr txBox="1"/>
          <p:nvPr/>
        </p:nvSpPr>
        <p:spPr>
          <a:xfrm>
            <a:off x="3335046" y="3488744"/>
            <a:ext cx="1164946" cy="64163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rgbClr val="C00000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 dirty="0"/>
              <a:t>Infectious</a:t>
            </a:r>
          </a:p>
        </p:txBody>
      </p:sp>
      <p:sp>
        <p:nvSpPr>
          <p:cNvPr id="112" name="TextBox 111"/>
          <p:cNvSpPr txBox="1"/>
          <p:nvPr/>
        </p:nvSpPr>
        <p:spPr>
          <a:xfrm>
            <a:off x="3335046" y="4208189"/>
            <a:ext cx="1164946" cy="64163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rgbClr val="C00000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 dirty="0"/>
              <a:t>Natural disaster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3335046" y="1975403"/>
            <a:ext cx="1164946" cy="64163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rgbClr val="C00000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 dirty="0"/>
              <a:t>Chemical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3335046" y="4952450"/>
            <a:ext cx="1164946" cy="64163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rgbClr val="C00000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 dirty="0"/>
              <a:t>Conflict</a:t>
            </a:r>
          </a:p>
        </p:txBody>
      </p:sp>
      <p:sp>
        <p:nvSpPr>
          <p:cNvPr id="114" name="TextBox 113"/>
          <p:cNvSpPr txBox="1"/>
          <p:nvPr/>
        </p:nvSpPr>
        <p:spPr>
          <a:xfrm>
            <a:off x="4679441" y="2196964"/>
            <a:ext cx="823981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1600" dirty="0" smtClean="0">
                <a:solidFill>
                  <a:prstClr val="black"/>
                </a:solidFill>
                <a:latin typeface="Calibri"/>
              </a:rPr>
              <a:t>Spill</a:t>
            </a:r>
            <a:endParaRPr lang="en-US" sz="16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4679441" y="2941226"/>
            <a:ext cx="823981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1600" dirty="0" smtClean="0">
                <a:solidFill>
                  <a:prstClr val="black"/>
                </a:solidFill>
                <a:latin typeface="Calibri"/>
              </a:rPr>
              <a:t>Leak</a:t>
            </a:r>
            <a:endParaRPr lang="en-US" sz="16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6" name="TextBox 115"/>
          <p:cNvSpPr txBox="1"/>
          <p:nvPr/>
        </p:nvSpPr>
        <p:spPr>
          <a:xfrm>
            <a:off x="4679441" y="3685488"/>
            <a:ext cx="823981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1600" dirty="0" smtClean="0">
                <a:solidFill>
                  <a:prstClr val="black"/>
                </a:solidFill>
                <a:latin typeface="Calibri"/>
              </a:rPr>
              <a:t>Outbreak</a:t>
            </a:r>
            <a:endParaRPr lang="en-US" sz="16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4679441" y="4429750"/>
            <a:ext cx="823981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1600" dirty="0" smtClean="0">
                <a:solidFill>
                  <a:prstClr val="black"/>
                </a:solidFill>
                <a:latin typeface="Calibri"/>
              </a:rPr>
              <a:t>Event</a:t>
            </a:r>
            <a:endParaRPr lang="en-US" sz="16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8" name="TextBox 117"/>
          <p:cNvSpPr txBox="1"/>
          <p:nvPr/>
        </p:nvSpPr>
        <p:spPr>
          <a:xfrm>
            <a:off x="4679441" y="5174011"/>
            <a:ext cx="823981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1600" dirty="0" smtClean="0">
                <a:solidFill>
                  <a:prstClr val="black"/>
                </a:solidFill>
                <a:latin typeface="Calibri"/>
              </a:rPr>
              <a:t>War</a:t>
            </a:r>
            <a:endParaRPr lang="en-US" sz="16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0" name="TextBox 119"/>
          <p:cNvSpPr txBox="1"/>
          <p:nvPr/>
        </p:nvSpPr>
        <p:spPr>
          <a:xfrm>
            <a:off x="6300192" y="3300854"/>
            <a:ext cx="1018763" cy="96778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rgbClr val="F79646">
                    <a:lumMod val="50000"/>
                  </a:srgb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sz="1400" dirty="0" smtClean="0"/>
              <a:t>Event Grading </a:t>
            </a:r>
            <a:r>
              <a:rPr lang="en-GB" sz="1400" dirty="0" smtClean="0"/>
              <a:t>&amp; Response</a:t>
            </a:r>
            <a:endParaRPr lang="en-US" sz="1400" dirty="0"/>
          </a:p>
        </p:txBody>
      </p:sp>
      <p:sp>
        <p:nvSpPr>
          <p:cNvPr id="125" name="Bracket 32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5562015" y="1975403"/>
            <a:ext cx="180989" cy="3618686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  <a:gd name="connsiteX0" fmla="*/ 0 w 115"/>
              <a:gd name="connsiteY0" fmla="*/ 0 h 1152"/>
              <a:gd name="connsiteX1" fmla="*/ 65 w 115"/>
              <a:gd name="connsiteY1" fmla="*/ 0 h 1152"/>
              <a:gd name="connsiteX2" fmla="*/ 65 w 115"/>
              <a:gd name="connsiteY2" fmla="*/ 528 h 1152"/>
              <a:gd name="connsiteX3" fmla="*/ 115 w 115"/>
              <a:gd name="connsiteY3" fmla="*/ 576 h 1152"/>
              <a:gd name="connsiteX4" fmla="*/ 65 w 115"/>
              <a:gd name="connsiteY4" fmla="*/ 624 h 1152"/>
              <a:gd name="connsiteX5" fmla="*/ 65 w 115"/>
              <a:gd name="connsiteY5" fmla="*/ 1152 h 1152"/>
              <a:gd name="connsiteX0" fmla="*/ 0 w 115"/>
              <a:gd name="connsiteY0" fmla="*/ 0 h 624"/>
              <a:gd name="connsiteX1" fmla="*/ 65 w 115"/>
              <a:gd name="connsiteY1" fmla="*/ 0 h 624"/>
              <a:gd name="connsiteX2" fmla="*/ 65 w 115"/>
              <a:gd name="connsiteY2" fmla="*/ 528 h 624"/>
              <a:gd name="connsiteX3" fmla="*/ 115 w 115"/>
              <a:gd name="connsiteY3" fmla="*/ 576 h 624"/>
              <a:gd name="connsiteX4" fmla="*/ 65 w 115"/>
              <a:gd name="connsiteY4" fmla="*/ 624 h 624"/>
              <a:gd name="connsiteX0" fmla="*/ 0 w 115"/>
              <a:gd name="connsiteY0" fmla="*/ 0 h 576"/>
              <a:gd name="connsiteX1" fmla="*/ 65 w 115"/>
              <a:gd name="connsiteY1" fmla="*/ 0 h 576"/>
              <a:gd name="connsiteX2" fmla="*/ 65 w 115"/>
              <a:gd name="connsiteY2" fmla="*/ 528 h 576"/>
              <a:gd name="connsiteX3" fmla="*/ 115 w 115"/>
              <a:gd name="connsiteY3" fmla="*/ 576 h 576"/>
              <a:gd name="connsiteX0" fmla="*/ 0 w 65"/>
              <a:gd name="connsiteY0" fmla="*/ 0 h 528"/>
              <a:gd name="connsiteX1" fmla="*/ 65 w 65"/>
              <a:gd name="connsiteY1" fmla="*/ 0 h 528"/>
              <a:gd name="connsiteX2" fmla="*/ 65 w 65"/>
              <a:gd name="connsiteY2" fmla="*/ 528 h 528"/>
              <a:gd name="connsiteX0" fmla="*/ 0 w 65"/>
              <a:gd name="connsiteY0" fmla="*/ 0 h 0"/>
              <a:gd name="connsiteX1" fmla="*/ 65 w 65"/>
              <a:gd name="connsiteY1" fmla="*/ 0 h 0"/>
              <a:gd name="connsiteX0" fmla="*/ 0 w 2379"/>
              <a:gd name="connsiteY0" fmla="*/ 3674132 h 3674132"/>
              <a:gd name="connsiteX1" fmla="*/ 2379 w 2379"/>
              <a:gd name="connsiteY1" fmla="*/ 0 h 3674132"/>
              <a:gd name="connsiteX0" fmla="*/ 0 w 2379"/>
              <a:gd name="connsiteY0" fmla="*/ 3674132 h 3674132"/>
              <a:gd name="connsiteX1" fmla="*/ 2379 w 2379"/>
              <a:gd name="connsiteY1" fmla="*/ 0 h 3674132"/>
              <a:gd name="connsiteX2" fmla="*/ 65 w 2379"/>
              <a:gd name="connsiteY2" fmla="*/ 3674132 h 3674132"/>
              <a:gd name="connsiteX0" fmla="*/ 0 w 2379"/>
              <a:gd name="connsiteY0" fmla="*/ 3674132 h 4512332"/>
              <a:gd name="connsiteX1" fmla="*/ 2379 w 2379"/>
              <a:gd name="connsiteY1" fmla="*/ 0 h 4512332"/>
              <a:gd name="connsiteX2" fmla="*/ 65 w 2379"/>
              <a:gd name="connsiteY2" fmla="*/ 3674132 h 4512332"/>
              <a:gd name="connsiteX3" fmla="*/ 65 w 2379"/>
              <a:gd name="connsiteY3" fmla="*/ 4512332 h 4512332"/>
              <a:gd name="connsiteX0" fmla="*/ 0 w 2379"/>
              <a:gd name="connsiteY0" fmla="*/ 3674132 h 4588532"/>
              <a:gd name="connsiteX1" fmla="*/ 2379 w 2379"/>
              <a:gd name="connsiteY1" fmla="*/ 0 h 4588532"/>
              <a:gd name="connsiteX2" fmla="*/ 65 w 2379"/>
              <a:gd name="connsiteY2" fmla="*/ 3674132 h 4588532"/>
              <a:gd name="connsiteX3" fmla="*/ 65 w 2379"/>
              <a:gd name="connsiteY3" fmla="*/ 4512332 h 4588532"/>
              <a:gd name="connsiteX4" fmla="*/ 115 w 2379"/>
              <a:gd name="connsiteY4" fmla="*/ 4588532 h 4588532"/>
              <a:gd name="connsiteX0" fmla="*/ 0 w 2379"/>
              <a:gd name="connsiteY0" fmla="*/ 3674132 h 4664732"/>
              <a:gd name="connsiteX1" fmla="*/ 2379 w 2379"/>
              <a:gd name="connsiteY1" fmla="*/ 0 h 4664732"/>
              <a:gd name="connsiteX2" fmla="*/ 65 w 2379"/>
              <a:gd name="connsiteY2" fmla="*/ 3674132 h 4664732"/>
              <a:gd name="connsiteX3" fmla="*/ 65 w 2379"/>
              <a:gd name="connsiteY3" fmla="*/ 4512332 h 4664732"/>
              <a:gd name="connsiteX4" fmla="*/ 115 w 2379"/>
              <a:gd name="connsiteY4" fmla="*/ 4588532 h 4664732"/>
              <a:gd name="connsiteX5" fmla="*/ 65 w 2379"/>
              <a:gd name="connsiteY5" fmla="*/ 4664732 h 4664732"/>
              <a:gd name="connsiteX0" fmla="*/ 0 w 2379"/>
              <a:gd name="connsiteY0" fmla="*/ 3674132 h 5502932"/>
              <a:gd name="connsiteX1" fmla="*/ 2379 w 2379"/>
              <a:gd name="connsiteY1" fmla="*/ 0 h 5502932"/>
              <a:gd name="connsiteX2" fmla="*/ 65 w 2379"/>
              <a:gd name="connsiteY2" fmla="*/ 3674132 h 5502932"/>
              <a:gd name="connsiteX3" fmla="*/ 65 w 2379"/>
              <a:gd name="connsiteY3" fmla="*/ 4512332 h 5502932"/>
              <a:gd name="connsiteX4" fmla="*/ 115 w 2379"/>
              <a:gd name="connsiteY4" fmla="*/ 4588532 h 5502932"/>
              <a:gd name="connsiteX5" fmla="*/ 65 w 2379"/>
              <a:gd name="connsiteY5" fmla="*/ 4664732 h 5502932"/>
              <a:gd name="connsiteX6" fmla="*/ 65 w 2379"/>
              <a:gd name="connsiteY6" fmla="*/ 5502932 h 5502932"/>
              <a:gd name="connsiteX0" fmla="*/ 0 w 2379"/>
              <a:gd name="connsiteY0" fmla="*/ 3674132 h 5502932"/>
              <a:gd name="connsiteX1" fmla="*/ 2379 w 2379"/>
              <a:gd name="connsiteY1" fmla="*/ 0 h 5502932"/>
              <a:gd name="connsiteX2" fmla="*/ 65 w 2379"/>
              <a:gd name="connsiteY2" fmla="*/ 3674132 h 5502932"/>
              <a:gd name="connsiteX3" fmla="*/ 65 w 2379"/>
              <a:gd name="connsiteY3" fmla="*/ 4512332 h 5502932"/>
              <a:gd name="connsiteX4" fmla="*/ 115 w 2379"/>
              <a:gd name="connsiteY4" fmla="*/ 4588532 h 5502932"/>
              <a:gd name="connsiteX5" fmla="*/ 65 w 2379"/>
              <a:gd name="connsiteY5" fmla="*/ 4664732 h 5502932"/>
              <a:gd name="connsiteX6" fmla="*/ 65 w 2379"/>
              <a:gd name="connsiteY6" fmla="*/ 5502932 h 5502932"/>
              <a:gd name="connsiteX7" fmla="*/ 0 w 2379"/>
              <a:gd name="connsiteY7" fmla="*/ 5502932 h 5502932"/>
              <a:gd name="connsiteX0" fmla="*/ 0 w 2379"/>
              <a:gd name="connsiteY0" fmla="*/ 3674132 h 5502932"/>
              <a:gd name="connsiteX1" fmla="*/ 2379 w 2379"/>
              <a:gd name="connsiteY1" fmla="*/ 0 h 5502932"/>
              <a:gd name="connsiteX2" fmla="*/ 65 w 2379"/>
              <a:gd name="connsiteY2" fmla="*/ 3674132 h 5502932"/>
              <a:gd name="connsiteX3" fmla="*/ 65 w 2379"/>
              <a:gd name="connsiteY3" fmla="*/ 4512332 h 5502932"/>
              <a:gd name="connsiteX4" fmla="*/ 115 w 2379"/>
              <a:gd name="connsiteY4" fmla="*/ 4588532 h 5502932"/>
              <a:gd name="connsiteX5" fmla="*/ 65 w 2379"/>
              <a:gd name="connsiteY5" fmla="*/ 4664732 h 5502932"/>
              <a:gd name="connsiteX6" fmla="*/ 65 w 2379"/>
              <a:gd name="connsiteY6" fmla="*/ 5502932 h 5502932"/>
              <a:gd name="connsiteX7" fmla="*/ 0 w 2379"/>
              <a:gd name="connsiteY7" fmla="*/ 5502932 h 5502932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0 h 1828800"/>
              <a:gd name="connsiteX3" fmla="*/ 65 w 115"/>
              <a:gd name="connsiteY3" fmla="*/ 838200 h 1828800"/>
              <a:gd name="connsiteX4" fmla="*/ 115 w 115"/>
              <a:gd name="connsiteY4" fmla="*/ 914400 h 1828800"/>
              <a:gd name="connsiteX5" fmla="*/ 65 w 115"/>
              <a:gd name="connsiteY5" fmla="*/ 990600 h 1828800"/>
              <a:gd name="connsiteX6" fmla="*/ 65 w 115"/>
              <a:gd name="connsiteY6" fmla="*/ 1828800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200 h 1828800"/>
              <a:gd name="connsiteX3" fmla="*/ 65 w 115"/>
              <a:gd name="connsiteY3" fmla="*/ 838200 h 1828800"/>
              <a:gd name="connsiteX4" fmla="*/ 115 w 115"/>
              <a:gd name="connsiteY4" fmla="*/ 914400 h 1828800"/>
              <a:gd name="connsiteX5" fmla="*/ 65 w 115"/>
              <a:gd name="connsiteY5" fmla="*/ 990600 h 1828800"/>
              <a:gd name="connsiteX6" fmla="*/ 65 w 115"/>
              <a:gd name="connsiteY6" fmla="*/ 1828800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200 h 1828800"/>
              <a:gd name="connsiteX3" fmla="*/ 115 w 115"/>
              <a:gd name="connsiteY3" fmla="*/ 914400 h 1828800"/>
              <a:gd name="connsiteX4" fmla="*/ 115 w 115"/>
              <a:gd name="connsiteY4" fmla="*/ 914400 h 1828800"/>
              <a:gd name="connsiteX5" fmla="*/ 65 w 115"/>
              <a:gd name="connsiteY5" fmla="*/ 990600 h 1828800"/>
              <a:gd name="connsiteX6" fmla="*/ 65 w 115"/>
              <a:gd name="connsiteY6" fmla="*/ 1828800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200 h 1828800"/>
              <a:gd name="connsiteX3" fmla="*/ 115 w 115"/>
              <a:gd name="connsiteY3" fmla="*/ 914400 h 1828800"/>
              <a:gd name="connsiteX4" fmla="*/ 65 w 115"/>
              <a:gd name="connsiteY4" fmla="*/ 990600 h 1828800"/>
              <a:gd name="connsiteX5" fmla="*/ 65 w 115"/>
              <a:gd name="connsiteY5" fmla="*/ 990600 h 1828800"/>
              <a:gd name="connsiteX6" fmla="*/ 65 w 115"/>
              <a:gd name="connsiteY6" fmla="*/ 1828800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200 h 1828800"/>
              <a:gd name="connsiteX3" fmla="*/ 115 w 115"/>
              <a:gd name="connsiteY3" fmla="*/ 914400 h 1828800"/>
              <a:gd name="connsiteX4" fmla="*/ 65 w 115"/>
              <a:gd name="connsiteY4" fmla="*/ 990600 h 1828800"/>
              <a:gd name="connsiteX5" fmla="*/ 65 w 115"/>
              <a:gd name="connsiteY5" fmla="*/ 1828800 h 1828800"/>
              <a:gd name="connsiteX6" fmla="*/ 65 w 115"/>
              <a:gd name="connsiteY6" fmla="*/ 1828800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200 h 1828800"/>
              <a:gd name="connsiteX3" fmla="*/ 115 w 115"/>
              <a:gd name="connsiteY3" fmla="*/ 914400 h 1828800"/>
              <a:gd name="connsiteX4" fmla="*/ 65 w 115"/>
              <a:gd name="connsiteY4" fmla="*/ 990600 h 1828800"/>
              <a:gd name="connsiteX5" fmla="*/ 65 w 115"/>
              <a:gd name="connsiteY5" fmla="*/ 1828800 h 1828800"/>
              <a:gd name="connsiteX6" fmla="*/ 0 w 115"/>
              <a:gd name="connsiteY6" fmla="*/ 1828800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200 h 1828800"/>
              <a:gd name="connsiteX3" fmla="*/ 115 w 115"/>
              <a:gd name="connsiteY3" fmla="*/ 914400 h 1828800"/>
              <a:gd name="connsiteX4" fmla="*/ 65 w 115"/>
              <a:gd name="connsiteY4" fmla="*/ 990600 h 1828800"/>
              <a:gd name="connsiteX5" fmla="*/ 65 w 115"/>
              <a:gd name="connsiteY5" fmla="*/ 1828800 h 1828800"/>
              <a:gd name="connsiteX6" fmla="*/ 0 w 115"/>
              <a:gd name="connsiteY6" fmla="*/ 1828800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34 w 115"/>
              <a:gd name="connsiteY1" fmla="*/ 0 h 1828800"/>
              <a:gd name="connsiteX2" fmla="*/ 65 w 115"/>
              <a:gd name="connsiteY2" fmla="*/ 838200 h 1828800"/>
              <a:gd name="connsiteX3" fmla="*/ 115 w 115"/>
              <a:gd name="connsiteY3" fmla="*/ 914400 h 1828800"/>
              <a:gd name="connsiteX4" fmla="*/ 65 w 115"/>
              <a:gd name="connsiteY4" fmla="*/ 990600 h 1828800"/>
              <a:gd name="connsiteX5" fmla="*/ 65 w 115"/>
              <a:gd name="connsiteY5" fmla="*/ 1828800 h 1828800"/>
              <a:gd name="connsiteX6" fmla="*/ 0 w 115"/>
              <a:gd name="connsiteY6" fmla="*/ 1828800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34 w 115"/>
              <a:gd name="connsiteY1" fmla="*/ 0 h 1828800"/>
              <a:gd name="connsiteX2" fmla="*/ 34 w 115"/>
              <a:gd name="connsiteY2" fmla="*/ 876332 h 1828800"/>
              <a:gd name="connsiteX3" fmla="*/ 115 w 115"/>
              <a:gd name="connsiteY3" fmla="*/ 914400 h 1828800"/>
              <a:gd name="connsiteX4" fmla="*/ 65 w 115"/>
              <a:gd name="connsiteY4" fmla="*/ 990600 h 1828800"/>
              <a:gd name="connsiteX5" fmla="*/ 65 w 115"/>
              <a:gd name="connsiteY5" fmla="*/ 1828800 h 1828800"/>
              <a:gd name="connsiteX6" fmla="*/ 0 w 115"/>
              <a:gd name="connsiteY6" fmla="*/ 1828800 h 1828800"/>
              <a:gd name="connsiteX7" fmla="*/ 0 w 115"/>
              <a:gd name="connsiteY7" fmla="*/ 1828800 h 1828800"/>
              <a:gd name="connsiteX0" fmla="*/ 0 w 65"/>
              <a:gd name="connsiteY0" fmla="*/ 0 h 1828800"/>
              <a:gd name="connsiteX1" fmla="*/ 34 w 65"/>
              <a:gd name="connsiteY1" fmla="*/ 0 h 1828800"/>
              <a:gd name="connsiteX2" fmla="*/ 34 w 65"/>
              <a:gd name="connsiteY2" fmla="*/ 876332 h 1828800"/>
              <a:gd name="connsiteX3" fmla="*/ 59 w 65"/>
              <a:gd name="connsiteY3" fmla="*/ 914400 h 1828800"/>
              <a:gd name="connsiteX4" fmla="*/ 65 w 65"/>
              <a:gd name="connsiteY4" fmla="*/ 990600 h 1828800"/>
              <a:gd name="connsiteX5" fmla="*/ 65 w 65"/>
              <a:gd name="connsiteY5" fmla="*/ 1828800 h 1828800"/>
              <a:gd name="connsiteX6" fmla="*/ 0 w 65"/>
              <a:gd name="connsiteY6" fmla="*/ 1828800 h 1828800"/>
              <a:gd name="connsiteX7" fmla="*/ 0 w 65"/>
              <a:gd name="connsiteY7" fmla="*/ 1828800 h 1828800"/>
              <a:gd name="connsiteX0" fmla="*/ 0 w 65"/>
              <a:gd name="connsiteY0" fmla="*/ 0 h 1828800"/>
              <a:gd name="connsiteX1" fmla="*/ 34 w 65"/>
              <a:gd name="connsiteY1" fmla="*/ 0 h 1828800"/>
              <a:gd name="connsiteX2" fmla="*/ 34 w 65"/>
              <a:gd name="connsiteY2" fmla="*/ 876332 h 1828800"/>
              <a:gd name="connsiteX3" fmla="*/ 59 w 65"/>
              <a:gd name="connsiteY3" fmla="*/ 914400 h 1828800"/>
              <a:gd name="connsiteX4" fmla="*/ 34 w 65"/>
              <a:gd name="connsiteY4" fmla="*/ 952468 h 1828800"/>
              <a:gd name="connsiteX5" fmla="*/ 65 w 65"/>
              <a:gd name="connsiteY5" fmla="*/ 1828800 h 1828800"/>
              <a:gd name="connsiteX6" fmla="*/ 0 w 65"/>
              <a:gd name="connsiteY6" fmla="*/ 1828800 h 1828800"/>
              <a:gd name="connsiteX7" fmla="*/ 0 w 65"/>
              <a:gd name="connsiteY7" fmla="*/ 1828800 h 1828800"/>
              <a:gd name="connsiteX0" fmla="*/ 0 w 59"/>
              <a:gd name="connsiteY0" fmla="*/ 0 h 1828800"/>
              <a:gd name="connsiteX1" fmla="*/ 34 w 59"/>
              <a:gd name="connsiteY1" fmla="*/ 0 h 1828800"/>
              <a:gd name="connsiteX2" fmla="*/ 34 w 59"/>
              <a:gd name="connsiteY2" fmla="*/ 876332 h 1828800"/>
              <a:gd name="connsiteX3" fmla="*/ 59 w 59"/>
              <a:gd name="connsiteY3" fmla="*/ 914400 h 1828800"/>
              <a:gd name="connsiteX4" fmla="*/ 34 w 59"/>
              <a:gd name="connsiteY4" fmla="*/ 952468 h 1828800"/>
              <a:gd name="connsiteX5" fmla="*/ 34 w 59"/>
              <a:gd name="connsiteY5" fmla="*/ 1828800 h 1828800"/>
              <a:gd name="connsiteX6" fmla="*/ 0 w 59"/>
              <a:gd name="connsiteY6" fmla="*/ 1828800 h 1828800"/>
              <a:gd name="connsiteX7" fmla="*/ 0 w 59"/>
              <a:gd name="connsiteY7" fmla="*/ 1828800 h 1828800"/>
              <a:gd name="connsiteX0" fmla="*/ 0 w 59"/>
              <a:gd name="connsiteY0" fmla="*/ 0 h 1828800"/>
              <a:gd name="connsiteX1" fmla="*/ 34 w 59"/>
              <a:gd name="connsiteY1" fmla="*/ 0 h 1828800"/>
              <a:gd name="connsiteX2" fmla="*/ 34 w 59"/>
              <a:gd name="connsiteY2" fmla="*/ 876332 h 1828800"/>
              <a:gd name="connsiteX3" fmla="*/ 59 w 59"/>
              <a:gd name="connsiteY3" fmla="*/ 914400 h 1828800"/>
              <a:gd name="connsiteX4" fmla="*/ 34 w 59"/>
              <a:gd name="connsiteY4" fmla="*/ 952468 h 1828800"/>
              <a:gd name="connsiteX5" fmla="*/ 34 w 59"/>
              <a:gd name="connsiteY5" fmla="*/ 1828800 h 1828800"/>
              <a:gd name="connsiteX6" fmla="*/ 0 w 59"/>
              <a:gd name="connsiteY6" fmla="*/ 1828800 h 1828800"/>
              <a:gd name="connsiteX7" fmla="*/ 0 w 59"/>
              <a:gd name="connsiteY7" fmla="*/ 1828800 h 1828800"/>
              <a:gd name="connsiteX0" fmla="*/ 0 w 59"/>
              <a:gd name="connsiteY0" fmla="*/ 0 h 1828800"/>
              <a:gd name="connsiteX1" fmla="*/ 34 w 59"/>
              <a:gd name="connsiteY1" fmla="*/ 0 h 1828800"/>
              <a:gd name="connsiteX2" fmla="*/ 34 w 59"/>
              <a:gd name="connsiteY2" fmla="*/ 876332 h 1828800"/>
              <a:gd name="connsiteX3" fmla="*/ 59 w 59"/>
              <a:gd name="connsiteY3" fmla="*/ 914400 h 1828800"/>
              <a:gd name="connsiteX4" fmla="*/ 34 w 59"/>
              <a:gd name="connsiteY4" fmla="*/ 952468 h 1828800"/>
              <a:gd name="connsiteX5" fmla="*/ 34 w 59"/>
              <a:gd name="connsiteY5" fmla="*/ 1828800 h 1828800"/>
              <a:gd name="connsiteX6" fmla="*/ 0 w 59"/>
              <a:gd name="connsiteY6" fmla="*/ 1828800 h 1828800"/>
              <a:gd name="connsiteX0" fmla="*/ 0 w 59"/>
              <a:gd name="connsiteY0" fmla="*/ 0 h 1828800"/>
              <a:gd name="connsiteX1" fmla="*/ 34 w 59"/>
              <a:gd name="connsiteY1" fmla="*/ 0 h 1828800"/>
              <a:gd name="connsiteX2" fmla="*/ 34 w 59"/>
              <a:gd name="connsiteY2" fmla="*/ 876332 h 1828800"/>
              <a:gd name="connsiteX3" fmla="*/ 59 w 59"/>
              <a:gd name="connsiteY3" fmla="*/ 914400 h 1828800"/>
              <a:gd name="connsiteX4" fmla="*/ 34 w 59"/>
              <a:gd name="connsiteY4" fmla="*/ 952468 h 1828800"/>
              <a:gd name="connsiteX5" fmla="*/ 0 w 59"/>
              <a:gd name="connsiteY5" fmla="*/ 1828800 h 1828800"/>
              <a:gd name="connsiteX0" fmla="*/ 0 w 59"/>
              <a:gd name="connsiteY0" fmla="*/ 0 h 1828800"/>
              <a:gd name="connsiteX1" fmla="*/ 34 w 59"/>
              <a:gd name="connsiteY1" fmla="*/ 0 h 1828800"/>
              <a:gd name="connsiteX2" fmla="*/ 34 w 59"/>
              <a:gd name="connsiteY2" fmla="*/ 876332 h 1828800"/>
              <a:gd name="connsiteX3" fmla="*/ 59 w 59"/>
              <a:gd name="connsiteY3" fmla="*/ 914400 h 1828800"/>
              <a:gd name="connsiteX4" fmla="*/ 0 w 59"/>
              <a:gd name="connsiteY4" fmla="*/ 1828800 h 1828800"/>
              <a:gd name="connsiteX0" fmla="*/ 0 w 34"/>
              <a:gd name="connsiteY0" fmla="*/ 0 h 1828800"/>
              <a:gd name="connsiteX1" fmla="*/ 34 w 34"/>
              <a:gd name="connsiteY1" fmla="*/ 0 h 1828800"/>
              <a:gd name="connsiteX2" fmla="*/ 34 w 34"/>
              <a:gd name="connsiteY2" fmla="*/ 876332 h 1828800"/>
              <a:gd name="connsiteX3" fmla="*/ 0 w 34"/>
              <a:gd name="connsiteY3" fmla="*/ 1828800 h 1828800"/>
              <a:gd name="connsiteX0" fmla="*/ 0 w 34"/>
              <a:gd name="connsiteY0" fmla="*/ 0 h 1828800"/>
              <a:gd name="connsiteX1" fmla="*/ 34 w 34"/>
              <a:gd name="connsiteY1" fmla="*/ 0 h 1828800"/>
              <a:gd name="connsiteX2" fmla="*/ 0 w 34"/>
              <a:gd name="connsiteY2" fmla="*/ 1828800 h 1828800"/>
              <a:gd name="connsiteX0" fmla="*/ 0 w 0"/>
              <a:gd name="connsiteY0" fmla="*/ 0 h 1828800"/>
              <a:gd name="connsiteX1" fmla="*/ 0 w 0"/>
              <a:gd name="connsiteY1" fmla="*/ 1828800 h 1828800"/>
              <a:gd name="connsiteX0" fmla="*/ 0 w 3601986"/>
              <a:gd name="connsiteY0" fmla="*/ 0 h 8440"/>
              <a:gd name="connsiteX1" fmla="*/ 3601986 w 3601986"/>
              <a:gd name="connsiteY1" fmla="*/ 8440 h 8440"/>
              <a:gd name="connsiteX0" fmla="*/ 0 w 3601986"/>
              <a:gd name="connsiteY0" fmla="*/ 0 h 8440"/>
              <a:gd name="connsiteX1" fmla="*/ 3601986 w 3601986"/>
              <a:gd name="connsiteY1" fmla="*/ 8440 h 8440"/>
              <a:gd name="connsiteX2" fmla="*/ 103188 w 3601986"/>
              <a:gd name="connsiteY2" fmla="*/ 0 h 8440"/>
              <a:gd name="connsiteX0" fmla="*/ 0 w 3601986"/>
              <a:gd name="connsiteY0" fmla="*/ 0 h 423617"/>
              <a:gd name="connsiteX1" fmla="*/ 3601986 w 3601986"/>
              <a:gd name="connsiteY1" fmla="*/ 8440 h 423617"/>
              <a:gd name="connsiteX2" fmla="*/ 103188 w 3601986"/>
              <a:gd name="connsiteY2" fmla="*/ 0 h 423617"/>
              <a:gd name="connsiteX3" fmla="*/ 103188 w 3601986"/>
              <a:gd name="connsiteY3" fmla="*/ 423617 h 423617"/>
              <a:gd name="connsiteX0" fmla="*/ 0 w 3601986"/>
              <a:gd name="connsiteY0" fmla="*/ 0 h 462128"/>
              <a:gd name="connsiteX1" fmla="*/ 3601986 w 3601986"/>
              <a:gd name="connsiteY1" fmla="*/ 8440 h 462128"/>
              <a:gd name="connsiteX2" fmla="*/ 103188 w 3601986"/>
              <a:gd name="connsiteY2" fmla="*/ 0 h 462128"/>
              <a:gd name="connsiteX3" fmla="*/ 103188 w 3601986"/>
              <a:gd name="connsiteY3" fmla="*/ 423617 h 462128"/>
              <a:gd name="connsiteX4" fmla="*/ 182563 w 3601986"/>
              <a:gd name="connsiteY4" fmla="*/ 462128 h 462128"/>
              <a:gd name="connsiteX0" fmla="*/ 0 w 3601986"/>
              <a:gd name="connsiteY0" fmla="*/ 0 h 500638"/>
              <a:gd name="connsiteX1" fmla="*/ 3601986 w 3601986"/>
              <a:gd name="connsiteY1" fmla="*/ 8440 h 500638"/>
              <a:gd name="connsiteX2" fmla="*/ 103188 w 3601986"/>
              <a:gd name="connsiteY2" fmla="*/ 0 h 500638"/>
              <a:gd name="connsiteX3" fmla="*/ 103188 w 3601986"/>
              <a:gd name="connsiteY3" fmla="*/ 423617 h 500638"/>
              <a:gd name="connsiteX4" fmla="*/ 182563 w 3601986"/>
              <a:gd name="connsiteY4" fmla="*/ 462128 h 500638"/>
              <a:gd name="connsiteX5" fmla="*/ 103188 w 3601986"/>
              <a:gd name="connsiteY5" fmla="*/ 500638 h 500638"/>
              <a:gd name="connsiteX0" fmla="*/ 0 w 3601986"/>
              <a:gd name="connsiteY0" fmla="*/ 0 h 924254"/>
              <a:gd name="connsiteX1" fmla="*/ 3601986 w 3601986"/>
              <a:gd name="connsiteY1" fmla="*/ 8440 h 924254"/>
              <a:gd name="connsiteX2" fmla="*/ 103188 w 3601986"/>
              <a:gd name="connsiteY2" fmla="*/ 0 h 924254"/>
              <a:gd name="connsiteX3" fmla="*/ 103188 w 3601986"/>
              <a:gd name="connsiteY3" fmla="*/ 423617 h 924254"/>
              <a:gd name="connsiteX4" fmla="*/ 182563 w 3601986"/>
              <a:gd name="connsiteY4" fmla="*/ 462128 h 924254"/>
              <a:gd name="connsiteX5" fmla="*/ 103188 w 3601986"/>
              <a:gd name="connsiteY5" fmla="*/ 500638 h 924254"/>
              <a:gd name="connsiteX6" fmla="*/ 103188 w 3601986"/>
              <a:gd name="connsiteY6" fmla="*/ 924254 h 924254"/>
              <a:gd name="connsiteX0" fmla="*/ 0 w 3601986"/>
              <a:gd name="connsiteY0" fmla="*/ 0 h 924255"/>
              <a:gd name="connsiteX1" fmla="*/ 3601986 w 3601986"/>
              <a:gd name="connsiteY1" fmla="*/ 8440 h 924255"/>
              <a:gd name="connsiteX2" fmla="*/ 103188 w 3601986"/>
              <a:gd name="connsiteY2" fmla="*/ 0 h 924255"/>
              <a:gd name="connsiteX3" fmla="*/ 103188 w 3601986"/>
              <a:gd name="connsiteY3" fmla="*/ 423617 h 924255"/>
              <a:gd name="connsiteX4" fmla="*/ 182563 w 3601986"/>
              <a:gd name="connsiteY4" fmla="*/ 462128 h 924255"/>
              <a:gd name="connsiteX5" fmla="*/ 103188 w 3601986"/>
              <a:gd name="connsiteY5" fmla="*/ 500638 h 924255"/>
              <a:gd name="connsiteX6" fmla="*/ 103188 w 3601986"/>
              <a:gd name="connsiteY6" fmla="*/ 924254 h 924255"/>
              <a:gd name="connsiteX7" fmla="*/ 0 w 3601986"/>
              <a:gd name="connsiteY7" fmla="*/ 924255 h 924255"/>
              <a:gd name="connsiteX0" fmla="*/ 0 w 3601986"/>
              <a:gd name="connsiteY0" fmla="*/ 0 h 924256"/>
              <a:gd name="connsiteX1" fmla="*/ 3601986 w 3601986"/>
              <a:gd name="connsiteY1" fmla="*/ 8441 h 924256"/>
              <a:gd name="connsiteX2" fmla="*/ 103188 w 3601986"/>
              <a:gd name="connsiteY2" fmla="*/ 1 h 924256"/>
              <a:gd name="connsiteX3" fmla="*/ 103188 w 3601986"/>
              <a:gd name="connsiteY3" fmla="*/ 423618 h 924256"/>
              <a:gd name="connsiteX4" fmla="*/ 182563 w 3601986"/>
              <a:gd name="connsiteY4" fmla="*/ 462129 h 924256"/>
              <a:gd name="connsiteX5" fmla="*/ 103188 w 3601986"/>
              <a:gd name="connsiteY5" fmla="*/ 500639 h 924256"/>
              <a:gd name="connsiteX6" fmla="*/ 103188 w 3601986"/>
              <a:gd name="connsiteY6" fmla="*/ 924255 h 924256"/>
              <a:gd name="connsiteX7" fmla="*/ 0 w 3601986"/>
              <a:gd name="connsiteY7" fmla="*/ 924256 h 924256"/>
              <a:gd name="connsiteX0" fmla="*/ 0 w 182563"/>
              <a:gd name="connsiteY0" fmla="*/ 0 h 924256"/>
              <a:gd name="connsiteX1" fmla="*/ 103188 w 182563"/>
              <a:gd name="connsiteY1" fmla="*/ 1 h 924256"/>
              <a:gd name="connsiteX2" fmla="*/ 103188 w 182563"/>
              <a:gd name="connsiteY2" fmla="*/ 1 h 924256"/>
              <a:gd name="connsiteX3" fmla="*/ 103188 w 182563"/>
              <a:gd name="connsiteY3" fmla="*/ 423618 h 924256"/>
              <a:gd name="connsiteX4" fmla="*/ 182563 w 182563"/>
              <a:gd name="connsiteY4" fmla="*/ 462129 h 924256"/>
              <a:gd name="connsiteX5" fmla="*/ 103188 w 182563"/>
              <a:gd name="connsiteY5" fmla="*/ 500639 h 924256"/>
              <a:gd name="connsiteX6" fmla="*/ 103188 w 182563"/>
              <a:gd name="connsiteY6" fmla="*/ 924255 h 924256"/>
              <a:gd name="connsiteX7" fmla="*/ 0 w 182563"/>
              <a:gd name="connsiteY7" fmla="*/ 924256 h 924256"/>
              <a:gd name="connsiteX0" fmla="*/ 0 w 182563"/>
              <a:gd name="connsiteY0" fmla="*/ 0 h 924256"/>
              <a:gd name="connsiteX1" fmla="*/ 103188 w 182563"/>
              <a:gd name="connsiteY1" fmla="*/ 1 h 924256"/>
              <a:gd name="connsiteX2" fmla="*/ 103189 w 182563"/>
              <a:gd name="connsiteY2" fmla="*/ 423617 h 924256"/>
              <a:gd name="connsiteX3" fmla="*/ 103188 w 182563"/>
              <a:gd name="connsiteY3" fmla="*/ 423618 h 924256"/>
              <a:gd name="connsiteX4" fmla="*/ 182563 w 182563"/>
              <a:gd name="connsiteY4" fmla="*/ 462129 h 924256"/>
              <a:gd name="connsiteX5" fmla="*/ 103188 w 182563"/>
              <a:gd name="connsiteY5" fmla="*/ 500639 h 924256"/>
              <a:gd name="connsiteX6" fmla="*/ 103188 w 182563"/>
              <a:gd name="connsiteY6" fmla="*/ 924255 h 924256"/>
              <a:gd name="connsiteX7" fmla="*/ 0 w 182563"/>
              <a:gd name="connsiteY7" fmla="*/ 924256 h 924256"/>
              <a:gd name="connsiteX0" fmla="*/ 0 w 182564"/>
              <a:gd name="connsiteY0" fmla="*/ 0 h 924256"/>
              <a:gd name="connsiteX1" fmla="*/ 103188 w 182564"/>
              <a:gd name="connsiteY1" fmla="*/ 1 h 924256"/>
              <a:gd name="connsiteX2" fmla="*/ 103189 w 182564"/>
              <a:gd name="connsiteY2" fmla="*/ 423617 h 924256"/>
              <a:gd name="connsiteX3" fmla="*/ 182564 w 182564"/>
              <a:gd name="connsiteY3" fmla="*/ 462128 h 924256"/>
              <a:gd name="connsiteX4" fmla="*/ 182563 w 182564"/>
              <a:gd name="connsiteY4" fmla="*/ 462129 h 924256"/>
              <a:gd name="connsiteX5" fmla="*/ 103188 w 182564"/>
              <a:gd name="connsiteY5" fmla="*/ 500639 h 924256"/>
              <a:gd name="connsiteX6" fmla="*/ 103188 w 182564"/>
              <a:gd name="connsiteY6" fmla="*/ 924255 h 924256"/>
              <a:gd name="connsiteX7" fmla="*/ 0 w 182564"/>
              <a:gd name="connsiteY7" fmla="*/ 924256 h 924256"/>
              <a:gd name="connsiteX0" fmla="*/ 0 w 182564"/>
              <a:gd name="connsiteY0" fmla="*/ 0 h 924256"/>
              <a:gd name="connsiteX1" fmla="*/ 103188 w 182564"/>
              <a:gd name="connsiteY1" fmla="*/ 1 h 924256"/>
              <a:gd name="connsiteX2" fmla="*/ 103189 w 182564"/>
              <a:gd name="connsiteY2" fmla="*/ 423617 h 924256"/>
              <a:gd name="connsiteX3" fmla="*/ 182564 w 182564"/>
              <a:gd name="connsiteY3" fmla="*/ 462128 h 924256"/>
              <a:gd name="connsiteX4" fmla="*/ 103188 w 182564"/>
              <a:gd name="connsiteY4" fmla="*/ 500639 h 924256"/>
              <a:gd name="connsiteX5" fmla="*/ 103188 w 182564"/>
              <a:gd name="connsiteY5" fmla="*/ 500639 h 924256"/>
              <a:gd name="connsiteX6" fmla="*/ 103188 w 182564"/>
              <a:gd name="connsiteY6" fmla="*/ 924255 h 924256"/>
              <a:gd name="connsiteX7" fmla="*/ 0 w 182564"/>
              <a:gd name="connsiteY7" fmla="*/ 924256 h 924256"/>
              <a:gd name="connsiteX0" fmla="*/ 0 w 182564"/>
              <a:gd name="connsiteY0" fmla="*/ 0 h 924256"/>
              <a:gd name="connsiteX1" fmla="*/ 103188 w 182564"/>
              <a:gd name="connsiteY1" fmla="*/ 1 h 924256"/>
              <a:gd name="connsiteX2" fmla="*/ 103189 w 182564"/>
              <a:gd name="connsiteY2" fmla="*/ 423617 h 924256"/>
              <a:gd name="connsiteX3" fmla="*/ 182564 w 182564"/>
              <a:gd name="connsiteY3" fmla="*/ 462128 h 924256"/>
              <a:gd name="connsiteX4" fmla="*/ 103188 w 182564"/>
              <a:gd name="connsiteY4" fmla="*/ 500639 h 924256"/>
              <a:gd name="connsiteX5" fmla="*/ 103188 w 182564"/>
              <a:gd name="connsiteY5" fmla="*/ 924255 h 924256"/>
              <a:gd name="connsiteX6" fmla="*/ 103188 w 182564"/>
              <a:gd name="connsiteY6" fmla="*/ 924255 h 924256"/>
              <a:gd name="connsiteX7" fmla="*/ 0 w 182564"/>
              <a:gd name="connsiteY7" fmla="*/ 924256 h 924256"/>
              <a:gd name="connsiteX0" fmla="*/ 0 w 182564"/>
              <a:gd name="connsiteY0" fmla="*/ 0 h 924256"/>
              <a:gd name="connsiteX1" fmla="*/ 103188 w 182564"/>
              <a:gd name="connsiteY1" fmla="*/ 1 h 924256"/>
              <a:gd name="connsiteX2" fmla="*/ 103189 w 182564"/>
              <a:gd name="connsiteY2" fmla="*/ 423617 h 924256"/>
              <a:gd name="connsiteX3" fmla="*/ 182564 w 182564"/>
              <a:gd name="connsiteY3" fmla="*/ 462128 h 924256"/>
              <a:gd name="connsiteX4" fmla="*/ 103188 w 182564"/>
              <a:gd name="connsiteY4" fmla="*/ 500639 h 924256"/>
              <a:gd name="connsiteX5" fmla="*/ 103188 w 182564"/>
              <a:gd name="connsiteY5" fmla="*/ 924255 h 924256"/>
              <a:gd name="connsiteX6" fmla="*/ 0 w 182564"/>
              <a:gd name="connsiteY6" fmla="*/ 924255 h 924256"/>
              <a:gd name="connsiteX7" fmla="*/ 0 w 182564"/>
              <a:gd name="connsiteY7" fmla="*/ 924256 h 924256"/>
              <a:gd name="connsiteX0" fmla="*/ 0 w 182564"/>
              <a:gd name="connsiteY0" fmla="*/ 0 h 924256"/>
              <a:gd name="connsiteX1" fmla="*/ 103188 w 182564"/>
              <a:gd name="connsiteY1" fmla="*/ 1 h 924256"/>
              <a:gd name="connsiteX2" fmla="*/ 103189 w 182564"/>
              <a:gd name="connsiteY2" fmla="*/ 423617 h 924256"/>
              <a:gd name="connsiteX3" fmla="*/ 182564 w 182564"/>
              <a:gd name="connsiteY3" fmla="*/ 462128 h 924256"/>
              <a:gd name="connsiteX4" fmla="*/ 103188 w 182564"/>
              <a:gd name="connsiteY4" fmla="*/ 500639 h 924256"/>
              <a:gd name="connsiteX5" fmla="*/ 103188 w 182564"/>
              <a:gd name="connsiteY5" fmla="*/ 924255 h 924256"/>
              <a:gd name="connsiteX6" fmla="*/ 0 w 182564"/>
              <a:gd name="connsiteY6" fmla="*/ 924255 h 924256"/>
              <a:gd name="connsiteX7" fmla="*/ 0 w 182564"/>
              <a:gd name="connsiteY7" fmla="*/ 924256 h 924256"/>
              <a:gd name="connsiteX0" fmla="*/ 0 w 182564"/>
              <a:gd name="connsiteY0" fmla="*/ 0 h 924256"/>
              <a:gd name="connsiteX1" fmla="*/ 51700 w 182564"/>
              <a:gd name="connsiteY1" fmla="*/ 0 h 924256"/>
              <a:gd name="connsiteX2" fmla="*/ 103189 w 182564"/>
              <a:gd name="connsiteY2" fmla="*/ 423617 h 924256"/>
              <a:gd name="connsiteX3" fmla="*/ 182564 w 182564"/>
              <a:gd name="connsiteY3" fmla="*/ 462128 h 924256"/>
              <a:gd name="connsiteX4" fmla="*/ 103188 w 182564"/>
              <a:gd name="connsiteY4" fmla="*/ 500639 h 924256"/>
              <a:gd name="connsiteX5" fmla="*/ 103188 w 182564"/>
              <a:gd name="connsiteY5" fmla="*/ 924255 h 924256"/>
              <a:gd name="connsiteX6" fmla="*/ 0 w 182564"/>
              <a:gd name="connsiteY6" fmla="*/ 924255 h 924256"/>
              <a:gd name="connsiteX7" fmla="*/ 0 w 182564"/>
              <a:gd name="connsiteY7" fmla="*/ 924256 h 924256"/>
              <a:gd name="connsiteX0" fmla="*/ 0 w 182564"/>
              <a:gd name="connsiteY0" fmla="*/ 0 h 924256"/>
              <a:gd name="connsiteX1" fmla="*/ 51700 w 182564"/>
              <a:gd name="connsiteY1" fmla="*/ 0 h 924256"/>
              <a:gd name="connsiteX2" fmla="*/ 51700 w 182564"/>
              <a:gd name="connsiteY2" fmla="*/ 443476 h 924256"/>
              <a:gd name="connsiteX3" fmla="*/ 182564 w 182564"/>
              <a:gd name="connsiteY3" fmla="*/ 462128 h 924256"/>
              <a:gd name="connsiteX4" fmla="*/ 103188 w 182564"/>
              <a:gd name="connsiteY4" fmla="*/ 500639 h 924256"/>
              <a:gd name="connsiteX5" fmla="*/ 103188 w 182564"/>
              <a:gd name="connsiteY5" fmla="*/ 924255 h 924256"/>
              <a:gd name="connsiteX6" fmla="*/ 0 w 182564"/>
              <a:gd name="connsiteY6" fmla="*/ 924255 h 924256"/>
              <a:gd name="connsiteX7" fmla="*/ 0 w 182564"/>
              <a:gd name="connsiteY7" fmla="*/ 924256 h 924256"/>
              <a:gd name="connsiteX0" fmla="*/ 0 w 103188"/>
              <a:gd name="connsiteY0" fmla="*/ 0 h 924256"/>
              <a:gd name="connsiteX1" fmla="*/ 51700 w 103188"/>
              <a:gd name="connsiteY1" fmla="*/ 0 h 924256"/>
              <a:gd name="connsiteX2" fmla="*/ 51700 w 103188"/>
              <a:gd name="connsiteY2" fmla="*/ 443476 h 924256"/>
              <a:gd name="connsiteX3" fmla="*/ 91468 w 103188"/>
              <a:gd name="connsiteY3" fmla="*/ 462128 h 924256"/>
              <a:gd name="connsiteX4" fmla="*/ 103188 w 103188"/>
              <a:gd name="connsiteY4" fmla="*/ 500639 h 924256"/>
              <a:gd name="connsiteX5" fmla="*/ 103188 w 103188"/>
              <a:gd name="connsiteY5" fmla="*/ 924255 h 924256"/>
              <a:gd name="connsiteX6" fmla="*/ 0 w 103188"/>
              <a:gd name="connsiteY6" fmla="*/ 924255 h 924256"/>
              <a:gd name="connsiteX7" fmla="*/ 0 w 103188"/>
              <a:gd name="connsiteY7" fmla="*/ 924256 h 924256"/>
              <a:gd name="connsiteX0" fmla="*/ 0 w 103188"/>
              <a:gd name="connsiteY0" fmla="*/ 0 h 924256"/>
              <a:gd name="connsiteX1" fmla="*/ 51700 w 103188"/>
              <a:gd name="connsiteY1" fmla="*/ 0 h 924256"/>
              <a:gd name="connsiteX2" fmla="*/ 51700 w 103188"/>
              <a:gd name="connsiteY2" fmla="*/ 443476 h 924256"/>
              <a:gd name="connsiteX3" fmla="*/ 91468 w 103188"/>
              <a:gd name="connsiteY3" fmla="*/ 462128 h 924256"/>
              <a:gd name="connsiteX4" fmla="*/ 51700 w 103188"/>
              <a:gd name="connsiteY4" fmla="*/ 480779 h 924256"/>
              <a:gd name="connsiteX5" fmla="*/ 103188 w 103188"/>
              <a:gd name="connsiteY5" fmla="*/ 924255 h 924256"/>
              <a:gd name="connsiteX6" fmla="*/ 0 w 103188"/>
              <a:gd name="connsiteY6" fmla="*/ 924255 h 924256"/>
              <a:gd name="connsiteX7" fmla="*/ 0 w 103188"/>
              <a:gd name="connsiteY7" fmla="*/ 924256 h 924256"/>
              <a:gd name="connsiteX0" fmla="*/ 0 w 91468"/>
              <a:gd name="connsiteY0" fmla="*/ 0 h 924256"/>
              <a:gd name="connsiteX1" fmla="*/ 51700 w 91468"/>
              <a:gd name="connsiteY1" fmla="*/ 0 h 924256"/>
              <a:gd name="connsiteX2" fmla="*/ 51700 w 91468"/>
              <a:gd name="connsiteY2" fmla="*/ 443476 h 924256"/>
              <a:gd name="connsiteX3" fmla="*/ 91468 w 91468"/>
              <a:gd name="connsiteY3" fmla="*/ 462128 h 924256"/>
              <a:gd name="connsiteX4" fmla="*/ 51700 w 91468"/>
              <a:gd name="connsiteY4" fmla="*/ 480779 h 924256"/>
              <a:gd name="connsiteX5" fmla="*/ 51700 w 91468"/>
              <a:gd name="connsiteY5" fmla="*/ 924256 h 924256"/>
              <a:gd name="connsiteX6" fmla="*/ 0 w 91468"/>
              <a:gd name="connsiteY6" fmla="*/ 924255 h 924256"/>
              <a:gd name="connsiteX7" fmla="*/ 0 w 91468"/>
              <a:gd name="connsiteY7" fmla="*/ 924256 h 924256"/>
              <a:gd name="connsiteX0" fmla="*/ 0 w 91468"/>
              <a:gd name="connsiteY0" fmla="*/ 0 h 924256"/>
              <a:gd name="connsiteX1" fmla="*/ 51700 w 91468"/>
              <a:gd name="connsiteY1" fmla="*/ 0 h 924256"/>
              <a:gd name="connsiteX2" fmla="*/ 51700 w 91468"/>
              <a:gd name="connsiteY2" fmla="*/ 443476 h 924256"/>
              <a:gd name="connsiteX3" fmla="*/ 91468 w 91468"/>
              <a:gd name="connsiteY3" fmla="*/ 462128 h 924256"/>
              <a:gd name="connsiteX4" fmla="*/ 51700 w 91468"/>
              <a:gd name="connsiteY4" fmla="*/ 480779 h 924256"/>
              <a:gd name="connsiteX5" fmla="*/ 51700 w 91468"/>
              <a:gd name="connsiteY5" fmla="*/ 924256 h 924256"/>
              <a:gd name="connsiteX6" fmla="*/ 1 w 91468"/>
              <a:gd name="connsiteY6" fmla="*/ 924256 h 924256"/>
              <a:gd name="connsiteX7" fmla="*/ 0 w 91468"/>
              <a:gd name="connsiteY7" fmla="*/ 924256 h 9242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68" h="924256">
                <a:moveTo>
                  <a:pt x="0" y="0"/>
                </a:moveTo>
                <a:lnTo>
                  <a:pt x="51700" y="0"/>
                </a:lnTo>
                <a:lnTo>
                  <a:pt x="51700" y="443476"/>
                </a:lnTo>
                <a:lnTo>
                  <a:pt x="91468" y="462128"/>
                </a:lnTo>
                <a:lnTo>
                  <a:pt x="51700" y="480779"/>
                </a:lnTo>
                <a:lnTo>
                  <a:pt x="51700" y="924256"/>
                </a:lnTo>
                <a:lnTo>
                  <a:pt x="1" y="924256"/>
                </a:lnTo>
                <a:lnTo>
                  <a:pt x="0" y="924256"/>
                </a:lnTo>
              </a:path>
            </a:pathLst>
          </a:custGeom>
          <a:noFill/>
          <a:ln w="952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4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8" name="Rounded Rectangle 127"/>
          <p:cNvSpPr/>
          <p:nvPr/>
        </p:nvSpPr>
        <p:spPr>
          <a:xfrm rot="16200000">
            <a:off x="6653973" y="3575382"/>
            <a:ext cx="3618686" cy="418727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000" dirty="0" smtClean="0">
                <a:solidFill>
                  <a:srgbClr val="9BBB59">
                    <a:lumMod val="50000"/>
                  </a:srgbClr>
                </a:solidFill>
              </a:rPr>
              <a:t>RESPONSE</a:t>
            </a:r>
            <a:endParaRPr lang="en-GB" sz="2000" dirty="0">
              <a:solidFill>
                <a:srgbClr val="9BBB59">
                  <a:lumMod val="50000"/>
                </a:srgbClr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7452320" y="2125917"/>
            <a:ext cx="648058" cy="3294315"/>
            <a:chOff x="7668344" y="1790869"/>
            <a:chExt cx="432034" cy="3294315"/>
          </a:xfrm>
        </p:grpSpPr>
        <p:sp>
          <p:nvSpPr>
            <p:cNvPr id="127" name="Right Arrow 126"/>
            <p:cNvSpPr/>
            <p:nvPr/>
          </p:nvSpPr>
          <p:spPr>
            <a:xfrm>
              <a:off x="7668344" y="3312799"/>
              <a:ext cx="432034" cy="250456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400">
                <a:solidFill>
                  <a:prstClr val="white"/>
                </a:solidFill>
              </a:endParaRPr>
            </a:p>
          </p:txBody>
        </p:sp>
        <p:sp>
          <p:nvSpPr>
            <p:cNvPr id="58" name="Right Arrow 57"/>
            <p:cNvSpPr/>
            <p:nvPr/>
          </p:nvSpPr>
          <p:spPr>
            <a:xfrm>
              <a:off x="7668344" y="1790869"/>
              <a:ext cx="432034" cy="250456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400">
                <a:solidFill>
                  <a:prstClr val="white"/>
                </a:solidFill>
              </a:endParaRPr>
            </a:p>
          </p:txBody>
        </p:sp>
        <p:sp>
          <p:nvSpPr>
            <p:cNvPr id="59" name="Right Arrow 58"/>
            <p:cNvSpPr/>
            <p:nvPr/>
          </p:nvSpPr>
          <p:spPr>
            <a:xfrm>
              <a:off x="7668344" y="2551834"/>
              <a:ext cx="432034" cy="250456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400">
                <a:solidFill>
                  <a:prstClr val="white"/>
                </a:solidFill>
              </a:endParaRPr>
            </a:p>
          </p:txBody>
        </p:sp>
        <p:sp>
          <p:nvSpPr>
            <p:cNvPr id="60" name="Right Arrow 59"/>
            <p:cNvSpPr/>
            <p:nvPr/>
          </p:nvSpPr>
          <p:spPr>
            <a:xfrm>
              <a:off x="7668344" y="4073764"/>
              <a:ext cx="432034" cy="250456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400">
                <a:solidFill>
                  <a:prstClr val="white"/>
                </a:solidFill>
              </a:endParaRPr>
            </a:p>
          </p:txBody>
        </p:sp>
        <p:sp>
          <p:nvSpPr>
            <p:cNvPr id="61" name="Right Arrow 60"/>
            <p:cNvSpPr/>
            <p:nvPr/>
          </p:nvSpPr>
          <p:spPr>
            <a:xfrm>
              <a:off x="7668344" y="4834728"/>
              <a:ext cx="432034" cy="250456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400">
                <a:solidFill>
                  <a:prstClr val="white"/>
                </a:solidFill>
              </a:endParaRPr>
            </a:p>
          </p:txBody>
        </p:sp>
      </p:grpSp>
      <p:sp>
        <p:nvSpPr>
          <p:cNvPr id="67" name="DirArrow 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rot="5400000">
            <a:off x="4487561" y="3721102"/>
            <a:ext cx="3076481" cy="282051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96850" y="5400368"/>
            <a:ext cx="8839646" cy="589155"/>
            <a:chOff x="196850" y="5310215"/>
            <a:chExt cx="8839646" cy="589155"/>
          </a:xfrm>
        </p:grpSpPr>
        <p:grpSp>
          <p:nvGrpSpPr>
            <p:cNvPr id="91" name="Group 90"/>
            <p:cNvGrpSpPr>
              <a:grpSpLocks/>
            </p:cNvGrpSpPr>
            <p:nvPr/>
          </p:nvGrpSpPr>
          <p:grpSpPr>
            <a:xfrm>
              <a:off x="4572000" y="5688948"/>
              <a:ext cx="4464496" cy="210422"/>
              <a:chOff x="196850" y="5589240"/>
              <a:chExt cx="4087118" cy="216024"/>
            </a:xfrm>
          </p:grpSpPr>
          <p:cxnSp>
            <p:nvCxnSpPr>
              <p:cNvPr id="92" name="Straight Connector 91"/>
              <p:cNvCxnSpPr/>
              <p:nvPr/>
            </p:nvCxnSpPr>
            <p:spPr>
              <a:xfrm>
                <a:off x="196850" y="5697252"/>
                <a:ext cx="4087118" cy="0"/>
              </a:xfrm>
              <a:prstGeom prst="line">
                <a:avLst/>
              </a:prstGeom>
              <a:ln w="190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/>
              <p:cNvCxnSpPr/>
              <p:nvPr/>
            </p:nvCxnSpPr>
            <p:spPr>
              <a:xfrm>
                <a:off x="196850" y="5589240"/>
                <a:ext cx="0" cy="216024"/>
              </a:xfrm>
              <a:prstGeom prst="line">
                <a:avLst/>
              </a:prstGeom>
              <a:ln w="190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/>
              <p:cNvCxnSpPr/>
              <p:nvPr/>
            </p:nvCxnSpPr>
            <p:spPr>
              <a:xfrm>
                <a:off x="4283968" y="5589240"/>
                <a:ext cx="0" cy="216024"/>
              </a:xfrm>
              <a:prstGeom prst="line">
                <a:avLst/>
              </a:prstGeom>
              <a:ln w="190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9" name="TextBox 98"/>
            <p:cNvSpPr txBox="1"/>
            <p:nvPr/>
          </p:nvSpPr>
          <p:spPr>
            <a:xfrm>
              <a:off x="5743004" y="5340993"/>
              <a:ext cx="1803892" cy="246221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>
              <a:lvl1pPr marL="342900" lvl="0" indent="-342900">
                <a:spcBef>
                  <a:spcPct val="20000"/>
                </a:spcBef>
                <a:buFont typeface="Arial" panose="020B0604020202020204" pitchFamily="34" charset="0"/>
                <a:buChar char="•"/>
                <a:defRPr sz="3200"/>
              </a:lvl1pPr>
              <a:lvl2pPr marL="742950" lvl="1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/>
              </a:lvl2pPr>
              <a:lvl3pPr marL="1143000" lvl="2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/>
              </a:lvl3pPr>
              <a:lvl4pPr marL="1600200" lvl="3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/>
              </a:lvl4pPr>
              <a:lvl5pPr marL="2057400" lvl="4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/>
              </a:lvl5pPr>
              <a:lvl6pPr marL="25146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9pPr>
            </a:lstStyle>
            <a:p>
              <a:pPr marL="0" indent="0" algn="ctr" fontAlgn="auto">
                <a:spcAft>
                  <a:spcPts val="0"/>
                </a:spcAft>
                <a:buFont typeface="Arial" panose="020B0604020202020204" pitchFamily="34" charset="0"/>
                <a:buNone/>
              </a:pPr>
              <a:r>
                <a:rPr lang="en-US" sz="1800" b="1" dirty="0" smtClean="0">
                  <a:solidFill>
                    <a:prstClr val="black"/>
                  </a:solidFill>
                  <a:latin typeface="Calibri"/>
                </a:rPr>
                <a:t>Emergency operations</a:t>
              </a:r>
              <a:endParaRPr lang="en-US" sz="1800" b="1" dirty="0">
                <a:solidFill>
                  <a:prstClr val="black"/>
                </a:solidFill>
                <a:latin typeface="Calibri"/>
              </a:endParaRPr>
            </a:p>
          </p:txBody>
        </p:sp>
        <p:grpSp>
          <p:nvGrpSpPr>
            <p:cNvPr id="12" name="Group 11"/>
            <p:cNvGrpSpPr>
              <a:grpSpLocks/>
            </p:cNvGrpSpPr>
            <p:nvPr/>
          </p:nvGrpSpPr>
          <p:grpSpPr>
            <a:xfrm>
              <a:off x="196850" y="5688948"/>
              <a:ext cx="4303141" cy="210422"/>
              <a:chOff x="196850" y="5589240"/>
              <a:chExt cx="4087118" cy="216024"/>
            </a:xfrm>
          </p:grpSpPr>
          <p:cxnSp>
            <p:nvCxnSpPr>
              <p:cNvPr id="8" name="Straight Connector 7"/>
              <p:cNvCxnSpPr/>
              <p:nvPr/>
            </p:nvCxnSpPr>
            <p:spPr>
              <a:xfrm>
                <a:off x="196850" y="5697252"/>
                <a:ext cx="4087118" cy="0"/>
              </a:xfrm>
              <a:prstGeom prst="line">
                <a:avLst/>
              </a:prstGeom>
              <a:ln w="190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9"/>
              <p:cNvCxnSpPr/>
              <p:nvPr/>
            </p:nvCxnSpPr>
            <p:spPr>
              <a:xfrm>
                <a:off x="196850" y="5589240"/>
                <a:ext cx="0" cy="216024"/>
              </a:xfrm>
              <a:prstGeom prst="line">
                <a:avLst/>
              </a:prstGeom>
              <a:ln w="190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4283968" y="5589240"/>
                <a:ext cx="0" cy="216024"/>
              </a:xfrm>
              <a:prstGeom prst="line">
                <a:avLst/>
              </a:prstGeom>
              <a:ln w="190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8" name="TextBox 97"/>
            <p:cNvSpPr txBox="1"/>
            <p:nvPr/>
          </p:nvSpPr>
          <p:spPr>
            <a:xfrm>
              <a:off x="222609" y="5310215"/>
              <a:ext cx="3057782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342900" lvl="0" indent="-342900">
                <a:spcBef>
                  <a:spcPct val="20000"/>
                </a:spcBef>
                <a:buFont typeface="Arial" panose="020B0604020202020204" pitchFamily="34" charset="0"/>
                <a:buChar char="•"/>
                <a:defRPr sz="3200"/>
              </a:lvl1pPr>
              <a:lvl2pPr marL="742950" lvl="1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/>
              </a:lvl2pPr>
              <a:lvl3pPr marL="1143000" lvl="2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/>
              </a:lvl3pPr>
              <a:lvl4pPr marL="1600200" lvl="3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/>
              </a:lvl4pPr>
              <a:lvl5pPr marL="2057400" lvl="4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/>
              </a:lvl5pPr>
              <a:lvl6pPr marL="25146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9pPr>
            </a:lstStyle>
            <a:p>
              <a:pPr marL="0" indent="0" algn="ctr" fontAlgn="auto">
                <a:spcAft>
                  <a:spcPts val="0"/>
                </a:spcAft>
                <a:buFont typeface="Arial" panose="020B0604020202020204" pitchFamily="34" charset="0"/>
                <a:buNone/>
              </a:pPr>
              <a:r>
                <a:rPr lang="en-US" sz="1800" b="1" dirty="0" smtClean="0">
                  <a:solidFill>
                    <a:prstClr val="black"/>
                  </a:solidFill>
                  <a:latin typeface="Calibri"/>
                </a:rPr>
                <a:t>Infectious Hazard </a:t>
              </a:r>
              <a:r>
                <a:rPr lang="en-US" sz="1800" b="1" dirty="0" err="1" smtClean="0">
                  <a:solidFill>
                    <a:prstClr val="black"/>
                  </a:solidFill>
                  <a:latin typeface="Calibri"/>
                </a:rPr>
                <a:t>Managment</a:t>
              </a:r>
              <a:endParaRPr lang="en-US" sz="1800" b="1" dirty="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222609" y="3319121"/>
            <a:ext cx="3031490" cy="980287"/>
            <a:chOff x="222609" y="2984073"/>
            <a:chExt cx="3031490" cy="980287"/>
          </a:xfrm>
        </p:grpSpPr>
        <p:sp>
          <p:nvSpPr>
            <p:cNvPr id="105" name="TextBox 104"/>
            <p:cNvSpPr txBox="1"/>
            <p:nvPr/>
          </p:nvSpPr>
          <p:spPr>
            <a:xfrm>
              <a:off x="222609" y="2984073"/>
              <a:ext cx="1206798" cy="980287"/>
            </a:xfrm>
            <a:prstGeom prst="rect">
              <a:avLst/>
            </a:prstGeom>
            <a:solidFill>
              <a:srgbClr val="E6E0EC"/>
            </a:solidFill>
            <a:ln w="12700">
              <a:solidFill>
                <a:schemeClr val="accent4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en-US"/>
              </a:defPPr>
              <a:lvl1pPr marL="342900" indent="-342900" algn="ctr">
                <a:lnSpc>
                  <a:spcPct val="80000"/>
                </a:lnSpc>
                <a:spcBef>
                  <a:spcPct val="0"/>
                </a:spcBef>
                <a:buFontTx/>
                <a:buNone/>
                <a:defRPr sz="1100">
                  <a:solidFill>
                    <a:srgbClr val="604A7B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latin typeface="Calibri" panose="020F050202020403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latin typeface="Calibri" panose="020F050202020403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latin typeface="Calibri" panose="020F050202020403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latin typeface="Calibri" panose="020F0502020204030204" pitchFamily="34" charset="0"/>
                </a:defRPr>
              </a:lvl9pPr>
            </a:lstStyle>
            <a:p>
              <a:pPr marL="0" indent="0" fontAlgn="auto">
                <a:spcAft>
                  <a:spcPts val="0"/>
                </a:spcAft>
              </a:pPr>
              <a:r>
                <a:rPr lang="en-US" sz="1400" dirty="0" smtClean="0">
                  <a:latin typeface="Calibri"/>
                </a:rPr>
                <a:t>Infectious Hazards</a:t>
              </a:r>
            </a:p>
            <a:p>
              <a:pPr marL="0" indent="0" fontAlgn="auto">
                <a:spcAft>
                  <a:spcPts val="0"/>
                </a:spcAft>
              </a:pPr>
              <a:r>
                <a:rPr lang="en-US" dirty="0" smtClean="0">
                  <a:latin typeface="Calibri"/>
                </a:rPr>
                <a:t>(</a:t>
              </a:r>
              <a:r>
                <a:rPr lang="en-US" dirty="0" err="1" smtClean="0">
                  <a:latin typeface="Calibri"/>
                </a:rPr>
                <a:t>e.g</a:t>
              </a:r>
              <a:r>
                <a:rPr lang="en-US" dirty="0" smtClean="0">
                  <a:latin typeface="Calibri"/>
                </a:rPr>
                <a:t> H5N1</a:t>
              </a:r>
              <a:r>
                <a:rPr lang="en-US" dirty="0">
                  <a:latin typeface="Calibri"/>
                </a:rPr>
                <a:t>, </a:t>
              </a:r>
              <a:r>
                <a:rPr lang="en-US" dirty="0" smtClean="0">
                  <a:latin typeface="Calibri"/>
                </a:rPr>
                <a:t>H7N9, coronaviruses</a:t>
              </a:r>
              <a:r>
                <a:rPr lang="en-US" dirty="0">
                  <a:latin typeface="Calibri"/>
                </a:rPr>
                <a:t>, </a:t>
              </a:r>
              <a:r>
                <a:rPr lang="en-US" dirty="0" err="1" smtClean="0">
                  <a:latin typeface="Calibri"/>
                </a:rPr>
                <a:t>filoviruses</a:t>
              </a:r>
              <a:r>
                <a:rPr lang="en-US" dirty="0" smtClean="0">
                  <a:latin typeface="Calibri"/>
                </a:rPr>
                <a:t>)</a:t>
              </a:r>
              <a:endParaRPr lang="en-US" dirty="0">
                <a:latin typeface="Calibri"/>
              </a:endParaRPr>
            </a:p>
          </p:txBody>
        </p:sp>
        <p:sp>
          <p:nvSpPr>
            <p:cNvPr id="66" name="Right Arrow 65"/>
            <p:cNvSpPr>
              <a:spLocks/>
            </p:cNvSpPr>
            <p:nvPr/>
          </p:nvSpPr>
          <p:spPr>
            <a:xfrm>
              <a:off x="1619902" y="3362272"/>
              <a:ext cx="226768" cy="224486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400">
                <a:solidFill>
                  <a:prstClr val="white"/>
                </a:solidFill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1927617" y="3043799"/>
              <a:ext cx="1018763" cy="861432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en-US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1100">
                  <a:solidFill>
                    <a:srgbClr val="F79646">
                      <a:lumMod val="50000"/>
                    </a:srgbClr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US" sz="1400" dirty="0"/>
                <a:t>Infectious risk </a:t>
              </a:r>
            </a:p>
            <a:p>
              <a:r>
                <a:rPr lang="en-US" sz="1400" dirty="0"/>
                <a:t>grading &amp; </a:t>
              </a:r>
              <a:r>
                <a:rPr lang="en-US" sz="1400" dirty="0" err="1" smtClean="0"/>
                <a:t>mgmt</a:t>
              </a:r>
              <a:endParaRPr lang="en-US" sz="1400" dirty="0"/>
            </a:p>
          </p:txBody>
        </p:sp>
        <p:sp>
          <p:nvSpPr>
            <p:cNvPr id="70" name="Right Arrow 69"/>
            <p:cNvSpPr>
              <a:spLocks/>
            </p:cNvSpPr>
            <p:nvPr/>
          </p:nvSpPr>
          <p:spPr>
            <a:xfrm>
              <a:off x="3027331" y="3362272"/>
              <a:ext cx="226768" cy="224486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4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061925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116632"/>
            <a:ext cx="7695127" cy="1143000"/>
          </a:xfrm>
        </p:spPr>
        <p:txBody>
          <a:bodyPr>
            <a:normAutofit/>
          </a:bodyPr>
          <a:lstStyle/>
          <a:p>
            <a:pPr algn="ctr">
              <a:defRPr/>
            </a:pPr>
            <a:r>
              <a:rPr lang="en-GB" sz="3600" kern="12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HO's Roles in Health Emergency Risk Manage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2496" y="1686601"/>
            <a:ext cx="7646446" cy="4509068"/>
          </a:xfrm>
        </p:spPr>
        <p:txBody>
          <a:bodyPr>
            <a:noAutofit/>
          </a:bodyPr>
          <a:lstStyle/>
          <a:p>
            <a:pPr>
              <a:lnSpc>
                <a:spcPct val="120000"/>
              </a:lnSpc>
              <a:spcBef>
                <a:spcPts val="1800"/>
              </a:spcBef>
            </a:pPr>
            <a:r>
              <a:rPr lang="en-GB" sz="2400" dirty="0" smtClean="0">
                <a:latin typeface="+mn-lt"/>
              </a:rPr>
              <a:t>Infectious Hazard Management</a:t>
            </a:r>
          </a:p>
          <a:p>
            <a:pPr>
              <a:lnSpc>
                <a:spcPct val="120000"/>
              </a:lnSpc>
              <a:spcBef>
                <a:spcPts val="1800"/>
              </a:spcBef>
            </a:pPr>
            <a:r>
              <a:rPr lang="en-GB" sz="2400" dirty="0" smtClean="0">
                <a:latin typeface="+mn-lt"/>
              </a:rPr>
              <a:t>IHR &amp; Member State Preparedness</a:t>
            </a:r>
          </a:p>
          <a:p>
            <a:pPr>
              <a:lnSpc>
                <a:spcPct val="120000"/>
              </a:lnSpc>
              <a:spcBef>
                <a:spcPts val="1800"/>
              </a:spcBef>
            </a:pPr>
            <a:r>
              <a:rPr lang="en-GB" sz="2400" dirty="0" smtClean="0">
                <a:latin typeface="+mn-lt"/>
              </a:rPr>
              <a:t>Risk Assessment &amp; Health Emergency Info/Data</a:t>
            </a:r>
          </a:p>
          <a:p>
            <a:pPr>
              <a:lnSpc>
                <a:spcPct val="120000"/>
              </a:lnSpc>
              <a:spcBef>
                <a:spcPts val="1800"/>
              </a:spcBef>
            </a:pPr>
            <a:r>
              <a:rPr lang="en-GB" sz="2400" dirty="0" smtClean="0">
                <a:latin typeface="+mn-lt"/>
              </a:rPr>
              <a:t>Emergency Operations</a:t>
            </a:r>
            <a:endParaRPr lang="en-GB" sz="2800" dirty="0" smtClean="0">
              <a:latin typeface="+mn-lt"/>
            </a:endParaRPr>
          </a:p>
          <a:p>
            <a:pPr lvl="2">
              <a:lnSpc>
                <a:spcPct val="120000"/>
              </a:lnSpc>
              <a:spcBef>
                <a:spcPts val="600"/>
              </a:spcBef>
            </a:pPr>
            <a:r>
              <a:rPr lang="en-GB" sz="2000" dirty="0" smtClean="0">
                <a:latin typeface="+mn-lt"/>
              </a:rPr>
              <a:t>Incident management</a:t>
            </a:r>
          </a:p>
          <a:p>
            <a:pPr lvl="2">
              <a:lnSpc>
                <a:spcPct val="120000"/>
              </a:lnSpc>
              <a:spcBef>
                <a:spcPts val="600"/>
              </a:spcBef>
            </a:pPr>
            <a:r>
              <a:rPr lang="en-GB" sz="2000" dirty="0" smtClean="0">
                <a:latin typeface="+mn-lt"/>
              </a:rPr>
              <a:t>Protracted crises planning</a:t>
            </a:r>
          </a:p>
          <a:p>
            <a:pPr lvl="2">
              <a:lnSpc>
                <a:spcPct val="120000"/>
              </a:lnSpc>
              <a:spcBef>
                <a:spcPts val="600"/>
              </a:spcBef>
            </a:pPr>
            <a:r>
              <a:rPr lang="en-GB" sz="2000" dirty="0" smtClean="0">
                <a:latin typeface="+mn-lt"/>
              </a:rPr>
              <a:t>Operational Partners &amp; Readiness </a:t>
            </a:r>
          </a:p>
          <a:p>
            <a:pPr lvl="2">
              <a:lnSpc>
                <a:spcPct val="120000"/>
              </a:lnSpc>
              <a:spcBef>
                <a:spcPts val="600"/>
              </a:spcBef>
            </a:pPr>
            <a:r>
              <a:rPr lang="en-GB" sz="2000" dirty="0" smtClean="0">
                <a:latin typeface="+mn-lt"/>
              </a:rPr>
              <a:t>Operations Support &amp; Logistics</a:t>
            </a:r>
          </a:p>
          <a:p>
            <a:pPr lvl="1">
              <a:lnSpc>
                <a:spcPct val="120000"/>
              </a:lnSpc>
              <a:spcBef>
                <a:spcPts val="600"/>
              </a:spcBef>
            </a:pPr>
            <a:endParaRPr lang="en-GB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B487D3-7536-4C41-A64E-9ED29CC9A78B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7656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274637"/>
            <a:ext cx="8856984" cy="755673"/>
          </a:xfrm>
        </p:spPr>
        <p:txBody>
          <a:bodyPr>
            <a:no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en-US" sz="3200" kern="12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 financially empowered &amp; sustainable WHO Health </a:t>
            </a:r>
            <a:br>
              <a:rPr lang="en-US" sz="3200" kern="12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sz="3200" kern="12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mergencies </a:t>
            </a:r>
            <a:r>
              <a:rPr lang="en-US" sz="3200" kern="1200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ramme</a:t>
            </a:r>
            <a:endParaRPr lang="fr-FR" sz="3200" kern="1200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0456" y="1326524"/>
            <a:ext cx="8694032" cy="4622756"/>
          </a:xfrm>
        </p:spPr>
        <p:txBody>
          <a:bodyPr>
            <a:noAutofit/>
          </a:bodyPr>
          <a:lstStyle/>
          <a:p>
            <a:pPr algn="just"/>
            <a:r>
              <a:rPr lang="en-US" sz="2400" b="1" dirty="0" smtClean="0">
                <a:latin typeface="+mn-lt"/>
              </a:rPr>
              <a:t>Adequate </a:t>
            </a:r>
            <a:r>
              <a:rPr lang="en-US" sz="2400" b="1" dirty="0">
                <a:latin typeface="+mn-lt"/>
              </a:rPr>
              <a:t>financing </a:t>
            </a:r>
            <a:r>
              <a:rPr lang="en-US" sz="2400" dirty="0">
                <a:latin typeface="+mn-lt"/>
              </a:rPr>
              <a:t>is a prerequisite </a:t>
            </a:r>
            <a:r>
              <a:rPr lang="en-US" sz="2400" dirty="0" smtClean="0">
                <a:latin typeface="+mn-lt"/>
              </a:rPr>
              <a:t>for success in supporting </a:t>
            </a:r>
            <a:r>
              <a:rPr lang="en-US" sz="2400" dirty="0">
                <a:latin typeface="+mn-lt"/>
              </a:rPr>
              <a:t>of Member State preparedness </a:t>
            </a:r>
            <a:r>
              <a:rPr lang="en-US" sz="2400" dirty="0" smtClean="0">
                <a:latin typeface="+mn-lt"/>
              </a:rPr>
              <a:t>strengthening</a:t>
            </a:r>
          </a:p>
          <a:p>
            <a:pPr algn="just"/>
            <a:r>
              <a:rPr lang="en-US" sz="2400" dirty="0" smtClean="0">
                <a:latin typeface="+mn-lt"/>
              </a:rPr>
              <a:t>The </a:t>
            </a:r>
            <a:r>
              <a:rPr lang="en-US" sz="2400" dirty="0">
                <a:latin typeface="+mn-lt"/>
              </a:rPr>
              <a:t>financial viability and sustainability of the new </a:t>
            </a:r>
            <a:r>
              <a:rPr lang="en-US" sz="2400" dirty="0" smtClean="0">
                <a:latin typeface="+mn-lt"/>
              </a:rPr>
              <a:t>programme </a:t>
            </a:r>
            <a:r>
              <a:rPr lang="en-US" sz="2400" dirty="0">
                <a:latin typeface="+mn-lt"/>
              </a:rPr>
              <a:t>requires a combination of </a:t>
            </a:r>
            <a:r>
              <a:rPr lang="en-US" sz="2400" b="1" dirty="0">
                <a:latin typeface="+mn-lt"/>
              </a:rPr>
              <a:t>core financing </a:t>
            </a:r>
            <a:r>
              <a:rPr lang="en-US" sz="2400" dirty="0">
                <a:latin typeface="+mn-lt"/>
              </a:rPr>
              <a:t>for WHO’s standing emergency risk management capacity and normative </a:t>
            </a:r>
            <a:r>
              <a:rPr lang="en-US" sz="2400" dirty="0" smtClean="0">
                <a:latin typeface="+mn-lt"/>
              </a:rPr>
              <a:t>work</a:t>
            </a:r>
          </a:p>
          <a:p>
            <a:pPr algn="just"/>
            <a:r>
              <a:rPr lang="en-US" sz="2400" dirty="0" smtClean="0">
                <a:latin typeface="+mn-lt"/>
              </a:rPr>
              <a:t>Also required is a </a:t>
            </a:r>
            <a:r>
              <a:rPr lang="en-US" sz="2400" b="1" dirty="0" smtClean="0">
                <a:latin typeface="+mn-lt"/>
              </a:rPr>
              <a:t>contingency fund </a:t>
            </a:r>
            <a:r>
              <a:rPr lang="en-US" sz="2400" dirty="0" smtClean="0">
                <a:latin typeface="+mn-lt"/>
              </a:rPr>
              <a:t>(CFE) for rapidly initiating and enabling new emergency response operations</a:t>
            </a:r>
          </a:p>
        </p:txBody>
      </p:sp>
    </p:spTree>
    <p:extLst>
      <p:ext uri="{BB962C8B-B14F-4D97-AF65-F5344CB8AC3E}">
        <p14:creationId xmlns:p14="http://schemas.microsoft.com/office/powerpoint/2010/main" val="3391622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52400"/>
            <a:ext cx="8458200" cy="685800"/>
          </a:xfrm>
        </p:spPr>
        <p:txBody>
          <a:bodyPr>
            <a:noAutofit/>
          </a:bodyPr>
          <a:lstStyle/>
          <a:p>
            <a:pPr algn="ctr"/>
            <a:r>
              <a:rPr lang="en-GB" sz="3600" kern="12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clusion</a:t>
            </a:r>
            <a:endParaRPr lang="en-US" sz="3600" kern="1200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914400"/>
            <a:ext cx="8763000" cy="5715000"/>
          </a:xfrm>
        </p:spPr>
        <p:txBody>
          <a:bodyPr>
            <a:noAutofit/>
          </a:bodyPr>
          <a:lstStyle/>
          <a:p>
            <a:pPr algn="just"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+mn-lt"/>
              </a:rPr>
              <a:t>We need to collectively act now to stop the loss of </a:t>
            </a:r>
            <a:r>
              <a:rPr lang="en-US" sz="2800" dirty="0">
                <a:latin typeface="+mn-lt"/>
              </a:rPr>
              <a:t>African </a:t>
            </a:r>
            <a:r>
              <a:rPr lang="en-US" sz="2800" dirty="0" smtClean="0">
                <a:latin typeface="+mn-lt"/>
              </a:rPr>
              <a:t>lives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+mn-lt"/>
              </a:rPr>
              <a:t>We need  robust surveillance to nip </a:t>
            </a:r>
            <a:r>
              <a:rPr lang="en-US" sz="2800" dirty="0">
                <a:latin typeface="+mn-lt"/>
              </a:rPr>
              <a:t>epidemics </a:t>
            </a:r>
            <a:r>
              <a:rPr lang="en-US" sz="2800" dirty="0" smtClean="0">
                <a:latin typeface="+mn-lt"/>
              </a:rPr>
              <a:t>and health emergencies in </a:t>
            </a:r>
            <a:r>
              <a:rPr lang="en-US" sz="2800" dirty="0">
                <a:latin typeface="+mn-lt"/>
              </a:rPr>
              <a:t>the </a:t>
            </a:r>
            <a:r>
              <a:rPr lang="en-US" sz="2800" dirty="0" smtClean="0">
                <a:latin typeface="+mn-lt"/>
              </a:rPr>
              <a:t>bud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+mn-lt"/>
              </a:rPr>
              <a:t>We need to build world class infrastructure to prevent, detect</a:t>
            </a:r>
            <a:r>
              <a:rPr lang="en-US" sz="2800" dirty="0">
                <a:latin typeface="+mn-lt"/>
              </a:rPr>
              <a:t>, </a:t>
            </a:r>
            <a:r>
              <a:rPr lang="en-US" sz="2800" dirty="0" smtClean="0">
                <a:latin typeface="+mn-lt"/>
              </a:rPr>
              <a:t>and respond to outbreaks and other health emergencies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+mn-lt"/>
              </a:rPr>
              <a:t>New WHE programme offers us an opportunity</a:t>
            </a:r>
          </a:p>
          <a:p>
            <a:pPr marL="0" indent="0" algn="just">
              <a:buNone/>
            </a:pPr>
            <a:endParaRPr lang="en-US" sz="2800" dirty="0" smtClean="0"/>
          </a:p>
        </p:txBody>
      </p:sp>
    </p:spTree>
    <p:extLst>
      <p:ext uri="{BB962C8B-B14F-4D97-AF65-F5344CB8AC3E}">
        <p14:creationId xmlns:p14="http://schemas.microsoft.com/office/powerpoint/2010/main" val="2317036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1"/>
          <p:cNvSpPr>
            <a:spLocks noGrp="1"/>
          </p:cNvSpPr>
          <p:nvPr>
            <p:ph type="title"/>
          </p:nvPr>
        </p:nvSpPr>
        <p:spPr>
          <a:xfrm>
            <a:off x="511629" y="312655"/>
            <a:ext cx="8305800" cy="715963"/>
          </a:xfrm>
        </p:spPr>
        <p:txBody>
          <a:bodyPr/>
          <a:lstStyle/>
          <a:p>
            <a:pPr eaLnBrk="1" hangingPunct="1">
              <a:defRPr/>
            </a:pPr>
            <a:r>
              <a:rPr lang="en-GB" sz="3200" kern="12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15: </a:t>
            </a:r>
            <a:r>
              <a:rPr lang="en-GB" sz="3200" kern="12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ublic </a:t>
            </a:r>
            <a:r>
              <a:rPr lang="en-GB" sz="3200" kern="12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ealth events</a:t>
            </a:r>
            <a:r>
              <a:rPr lang="en-US" sz="3200" kern="12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n-US" sz="3200" kern="12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en-US" sz="3200" kern="1200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099" name="TextBox 1"/>
          <p:cNvSpPr txBox="1">
            <a:spLocks noChangeArrowheads="1"/>
          </p:cNvSpPr>
          <p:nvPr/>
        </p:nvSpPr>
        <p:spPr bwMode="auto">
          <a:xfrm>
            <a:off x="381000" y="1295400"/>
            <a:ext cx="83058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en-US">
              <a:solidFill>
                <a:prstClr val="black"/>
              </a:solidFill>
            </a:endParaRPr>
          </a:p>
        </p:txBody>
      </p:sp>
      <p:pic>
        <p:nvPicPr>
          <p:cNvPr id="1026" name="Picture 2" descr="weekly summary 2015 December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8" b="15334"/>
          <a:stretch>
            <a:fillRect/>
          </a:stretch>
        </p:blipFill>
        <p:spPr bwMode="auto">
          <a:xfrm>
            <a:off x="4427985" y="1055914"/>
            <a:ext cx="4032448" cy="43893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EEECE1"/>
                  </a:outerShdw>
                </a:effectLst>
              </a14:hiddenEffects>
            </a:ext>
          </a:extLst>
        </p:spPr>
      </p:pic>
      <p:sp>
        <p:nvSpPr>
          <p:cNvPr id="2" name="Rectangle 1"/>
          <p:cNvSpPr/>
          <p:nvPr/>
        </p:nvSpPr>
        <p:spPr>
          <a:xfrm>
            <a:off x="511629" y="1178437"/>
            <a:ext cx="381838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Blip>
                <a:blip r:embed="rId3"/>
              </a:buBlip>
            </a:pPr>
            <a:r>
              <a:rPr lang="en-GB" sz="2000" dirty="0" smtClean="0">
                <a:solidFill>
                  <a:prstClr val="black"/>
                </a:solidFill>
              </a:rPr>
              <a:t>82 </a:t>
            </a:r>
            <a:r>
              <a:rPr lang="en-GB" sz="2000" dirty="0">
                <a:solidFill>
                  <a:prstClr val="black"/>
                </a:solidFill>
              </a:rPr>
              <a:t>(78</a:t>
            </a:r>
            <a:r>
              <a:rPr lang="en-GB" sz="2000" dirty="0" smtClean="0">
                <a:solidFill>
                  <a:prstClr val="black"/>
                </a:solidFill>
              </a:rPr>
              <a:t>%): Infectious diseases </a:t>
            </a:r>
          </a:p>
          <a:p>
            <a:pPr marL="285750" indent="-285750">
              <a:buFontTx/>
              <a:buBlip>
                <a:blip r:embed="rId3"/>
              </a:buBlip>
            </a:pPr>
            <a:r>
              <a:rPr lang="en-GB" sz="2000" dirty="0" smtClean="0">
                <a:solidFill>
                  <a:prstClr val="black"/>
                </a:solidFill>
              </a:rPr>
              <a:t>18 </a:t>
            </a:r>
            <a:r>
              <a:rPr lang="en-GB" sz="2000" dirty="0">
                <a:solidFill>
                  <a:prstClr val="black"/>
                </a:solidFill>
              </a:rPr>
              <a:t>(17</a:t>
            </a:r>
            <a:r>
              <a:rPr lang="en-GB" sz="2000" dirty="0" smtClean="0">
                <a:solidFill>
                  <a:prstClr val="black"/>
                </a:solidFill>
              </a:rPr>
              <a:t>%): Disaster</a:t>
            </a:r>
          </a:p>
          <a:p>
            <a:pPr marL="285750" indent="-285750">
              <a:buFontTx/>
              <a:buBlip>
                <a:blip r:embed="rId3"/>
              </a:buBlip>
            </a:pPr>
            <a:r>
              <a:rPr lang="en-GB" sz="2000" dirty="0" smtClean="0">
                <a:solidFill>
                  <a:prstClr val="black"/>
                </a:solidFill>
              </a:rPr>
              <a:t>4 </a:t>
            </a:r>
            <a:r>
              <a:rPr lang="en-GB" sz="2000" dirty="0">
                <a:solidFill>
                  <a:prstClr val="black"/>
                </a:solidFill>
              </a:rPr>
              <a:t>(4</a:t>
            </a:r>
            <a:r>
              <a:rPr lang="en-GB" sz="2000" dirty="0" smtClean="0">
                <a:solidFill>
                  <a:prstClr val="black"/>
                </a:solidFill>
              </a:rPr>
              <a:t>%):     Chemical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52" t="9915" r="27107" b="8714"/>
          <a:stretch>
            <a:fillRect/>
          </a:stretch>
        </p:blipFill>
        <p:spPr bwMode="auto">
          <a:xfrm>
            <a:off x="381000" y="2819400"/>
            <a:ext cx="3931068" cy="3352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EEECE1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57955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2348880"/>
            <a:ext cx="8258922" cy="1238270"/>
          </a:xfrm>
        </p:spPr>
        <p:txBody>
          <a:bodyPr/>
          <a:lstStyle/>
          <a:p>
            <a:pPr algn="ctr"/>
            <a:r>
              <a:rPr lang="en-US" sz="6600" kern="12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Thank </a:t>
            </a:r>
            <a:r>
              <a:rPr lang="en-US" sz="6600" kern="12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You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Title of the Present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98B45C-09C7-497B-9261-07F290CB2D4C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42724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99592" y="2204864"/>
            <a:ext cx="6768752" cy="648072"/>
          </a:xfrm>
        </p:spPr>
        <p:txBody>
          <a:bodyPr/>
          <a:lstStyle/>
          <a:p>
            <a:pPr algn="ctr"/>
            <a:r>
              <a:rPr lang="en-US" sz="32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ngoing outbreaks</a:t>
            </a:r>
          </a:p>
        </p:txBody>
      </p:sp>
    </p:spTree>
    <p:extLst>
      <p:ext uri="{BB962C8B-B14F-4D97-AF65-F5344CB8AC3E}">
        <p14:creationId xmlns:p14="http://schemas.microsoft.com/office/powerpoint/2010/main" val="3033566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3350" y="885825"/>
            <a:ext cx="8772525" cy="5438775"/>
          </a:xfrm>
        </p:spPr>
        <p:txBody>
          <a:bodyPr/>
          <a:lstStyle/>
          <a:p>
            <a:pPr marL="457200" indent="-457200" algn="just">
              <a:buFont typeface="Wingdings" pitchFamily="2" charset="2"/>
              <a:buChar char="§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YF outbreak in Angola is largest in recent decades</a:t>
            </a:r>
          </a:p>
          <a:p>
            <a:pPr marL="457200" indent="-457200" algn="just">
              <a:buFont typeface="Wingdings" pitchFamily="2" charset="2"/>
              <a:buChar char="§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As of 29th July, a total of 3,818 suspected cases have been reported of which 879 were laboratory confirmed</a:t>
            </a:r>
          </a:p>
          <a:p>
            <a:pPr marL="457200" indent="-457200" algn="just">
              <a:buFont typeface="Wingdings" pitchFamily="2" charset="2"/>
              <a:buChar char="§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369 deaths (CFR =10%) among all suspected cases and 118 deaths (CFR =13.4%) among the confirmed cases</a:t>
            </a:r>
          </a:p>
          <a:p>
            <a:pPr marL="457200" indent="-457200" algn="just">
              <a:buFont typeface="Wingdings" pitchFamily="2" charset="2"/>
              <a:buChar char="§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Laboratory confirmed cases have been reported in all the 18 provinces and in 79 out of 123 districts. </a:t>
            </a:r>
          </a:p>
          <a:p>
            <a:pPr marL="457200" indent="-457200" algn="just">
              <a:buFont typeface="Wingdings" pitchFamily="2" charset="2"/>
              <a:buChar char="§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Luanda province has the majority of the confirmed cases 489 (56.8%), followed by Huambo 127 (17.7%) and Benguela 111 (12.9%)</a:t>
            </a:r>
          </a:p>
          <a:p>
            <a:endParaRPr lang="en-US" sz="2200" dirty="0">
              <a:effectLst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65351" y="66675"/>
            <a:ext cx="87405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80152" eaLnBrk="0" fontAlgn="base" hangingPunct="0">
              <a:spcBef>
                <a:spcPct val="80000"/>
              </a:spcBef>
              <a:spcAft>
                <a:spcPct val="0"/>
              </a:spcAft>
              <a:buClr>
                <a:srgbClr val="1E7FB8"/>
              </a:buClr>
            </a:pPr>
            <a:r>
              <a:rPr lang="en-US" sz="32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itchFamily="34" charset="0"/>
                <a:cs typeface="Calibri" panose="020F0502020204030204" pitchFamily="34" charset="0"/>
              </a:rPr>
              <a:t>Yellow Fever -Angola</a:t>
            </a:r>
            <a:endParaRPr lang="en-GB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Calibri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6052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80" y="116632"/>
            <a:ext cx="9144000" cy="748862"/>
          </a:xfrm>
        </p:spPr>
        <p:txBody>
          <a:bodyPr/>
          <a:lstStyle/>
          <a:p>
            <a:pPr algn="ctr">
              <a:spcBef>
                <a:spcPct val="80000"/>
              </a:spcBef>
              <a:buClr>
                <a:srgbClr val="1E7FB8"/>
              </a:buClr>
            </a:pPr>
            <a:r>
              <a:rPr lang="en-US" sz="3200" kern="12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Yellow Fever-DR Congo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2874" y="828676"/>
            <a:ext cx="8924925" cy="5451544"/>
          </a:xfrm>
        </p:spPr>
        <p:txBody>
          <a:bodyPr/>
          <a:lstStyle/>
          <a:p>
            <a:pPr marL="457200" indent="-457200" algn="just"/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On June 20th 2016, the Minister of health made an official statement declaring the YF outbreak a health emergency in the DRC</a:t>
            </a:r>
          </a:p>
          <a:p>
            <a:pPr marL="457200" indent="-457200" algn="just"/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 Five new cases of yellow fever were laboratory confirmed between 16 and 20 June 2016. </a:t>
            </a:r>
          </a:p>
          <a:p>
            <a:pPr marL="457200" indent="-457200" algn="just"/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Cases were reported from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Kisenso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Masina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II in Kinshasa and Matadi (1 and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Muanda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in Kongo Central. </a:t>
            </a:r>
          </a:p>
          <a:p>
            <a:pPr marL="457200" indent="-457200" algn="just"/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As of June 19, 2016 , a total of 68 confirmed cases of yellow fever have been notified, with seven (7) indigenous cases.</a:t>
            </a:r>
          </a:p>
          <a:p>
            <a:pPr marL="457200" indent="-457200" algn="just"/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Daily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notification of suspected cases of yellow fever is continuing </a:t>
            </a:r>
          </a:p>
        </p:txBody>
      </p:sp>
    </p:spTree>
    <p:extLst>
      <p:ext uri="{BB962C8B-B14F-4D97-AF65-F5344CB8AC3E}">
        <p14:creationId xmlns:p14="http://schemas.microsoft.com/office/powerpoint/2010/main" val="3661325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6632"/>
            <a:ext cx="8964488" cy="497160"/>
          </a:xfrm>
        </p:spPr>
        <p:txBody>
          <a:bodyPr/>
          <a:lstStyle/>
          <a:p>
            <a:pPr algn="ctr">
              <a:spcBef>
                <a:spcPct val="80000"/>
              </a:spcBef>
              <a:buClr>
                <a:srgbClr val="1E7FB8"/>
              </a:buClr>
            </a:pPr>
            <a:r>
              <a:rPr lang="en-US" sz="3200" kern="12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Yellow Fever-Uga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2874" y="828676"/>
            <a:ext cx="8924925" cy="5451544"/>
          </a:xfrm>
        </p:spPr>
        <p:txBody>
          <a:bodyPr/>
          <a:lstStyle/>
          <a:p>
            <a:pPr marL="457200" indent="-457200" algn="just"/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The outbreak in Uganda was notified on 9 April 2016</a:t>
            </a:r>
          </a:p>
          <a:p>
            <a:pPr marL="457200" indent="-457200" algn="just"/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As of 8 Jun 2016, a total of 91 cases including 3 deaths had been reported with 7 confirmed cases in three districts-Masaka (5), Rukungiri (1) and Kalangala (1)) districts</a:t>
            </a:r>
          </a:p>
          <a:p>
            <a:pPr marL="457200" indent="-457200" algn="just"/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Sequencing showed a high similarity with the YF outbreak in 2010 in Northern Uganda</a:t>
            </a:r>
          </a:p>
          <a:p>
            <a:pPr marL="457200" indent="-457200" algn="just"/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Uganda quickly responded and initiated reactive mass vaccination campaigns in the three districts achieving a coverage of 90.6% -96.8% in less than two weeks</a:t>
            </a:r>
          </a:p>
        </p:txBody>
      </p:sp>
    </p:spTree>
    <p:extLst>
      <p:ext uri="{BB962C8B-B14F-4D97-AF65-F5344CB8AC3E}">
        <p14:creationId xmlns:p14="http://schemas.microsoft.com/office/powerpoint/2010/main" val="2796870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116632"/>
            <a:ext cx="7848872" cy="569168"/>
          </a:xfrm>
        </p:spPr>
        <p:txBody>
          <a:bodyPr/>
          <a:lstStyle/>
          <a:p>
            <a:pPr algn="ctr">
              <a:spcBef>
                <a:spcPct val="80000"/>
              </a:spcBef>
              <a:buClr>
                <a:srgbClr val="1E7FB8"/>
              </a:buClr>
            </a:pPr>
            <a:r>
              <a:rPr lang="en-US" sz="3200" kern="12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holer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2875" y="828676"/>
            <a:ext cx="8749606" cy="5451544"/>
          </a:xfrm>
        </p:spPr>
        <p:txBody>
          <a:bodyPr/>
          <a:lstStyle/>
          <a:p>
            <a:pPr marL="457200" indent="-457200" algn="just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Fifteen countries reported a cumulative total of 97,472 cases and 1,936 deaths during the period January 2015 to 3 August 2016</a:t>
            </a:r>
          </a:p>
          <a:p>
            <a:pPr marL="457200" indent="-457200" algn="just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Between January – 4 August 2016, a total over 30,000 cases and 400 deaths were  reported in 14 out of 47 member states</a:t>
            </a:r>
          </a:p>
          <a:p>
            <a:pPr marL="457200" indent="-457200" algn="just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Three countries accounted for 84% of all cases; DRC (35%,  CFR 2%), Tanzania (30%, CFR 1.5%), and Kenya (19%, CFR 1.3%) </a:t>
            </a:r>
          </a:p>
          <a:p>
            <a:pPr marL="457200" indent="-457200" algn="just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Humanitarian crises in CAR, South Sudan and Burundi  associated with displacement of thousands of people have resulted in major health consequences</a:t>
            </a:r>
          </a:p>
          <a:p>
            <a:pPr marL="457200" indent="-457200" algn="just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Floods and El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nino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affecting millions of people in eastern and Southern Africa including; Ethiopia, Zimbabwe, Malawi, Lesotho, South Africa and Zambia </a:t>
            </a:r>
          </a:p>
          <a:p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1024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63062"/>
            <a:ext cx="9144000" cy="796487"/>
          </a:xfrm>
        </p:spPr>
        <p:txBody>
          <a:bodyPr/>
          <a:lstStyle/>
          <a:p>
            <a:pPr algn="ctr">
              <a:spcBef>
                <a:spcPct val="80000"/>
              </a:spcBef>
              <a:buClr>
                <a:srgbClr val="1E7FB8"/>
              </a:buClr>
            </a:pPr>
            <a:r>
              <a:rPr lang="en-US" sz="3200" kern="12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untries that reported cholera outbreaks to WHO </a:t>
            </a:r>
            <a:br>
              <a:rPr lang="en-US" sz="3200" kern="12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sz="3200" kern="12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January 2015 to 3 August 2016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42750032"/>
              </p:ext>
            </p:extLst>
          </p:nvPr>
        </p:nvGraphicFramePr>
        <p:xfrm>
          <a:off x="66676" y="847718"/>
          <a:ext cx="9077324" cy="554037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77634"/>
                <a:gridCol w="1051756"/>
                <a:gridCol w="3926291"/>
                <a:gridCol w="840218"/>
                <a:gridCol w="841207"/>
                <a:gridCol w="840218"/>
              </a:tblGrid>
              <a:tr h="50158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</a:rPr>
                        <a:t>Time period</a:t>
                      </a:r>
                      <a:endParaRPr lang="en-US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b="1">
                          <a:effectLst/>
                        </a:rPr>
                        <a:t>Country</a:t>
                      </a:r>
                      <a:endParaRPr lang="en-US" sz="11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b="1">
                          <a:effectLst/>
                        </a:rPr>
                        <a:t>Area (s)</a:t>
                      </a:r>
                      <a:endParaRPr lang="en-US" sz="11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b="1">
                          <a:effectLst/>
                        </a:rPr>
                        <a:t>Cases</a:t>
                      </a:r>
                      <a:endParaRPr lang="en-US" sz="11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b="1">
                          <a:effectLst/>
                        </a:rPr>
                        <a:t>Deaths</a:t>
                      </a:r>
                      <a:endParaRPr lang="en-US" sz="11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</a:rPr>
                        <a:t>CFR (%)</a:t>
                      </a:r>
                      <a:endParaRPr lang="en-US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4244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</a:rPr>
                        <a:t>17 Feb-Apr’16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Benin</a:t>
                      </a:r>
                      <a:endParaRPr lang="en-US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</a:rPr>
                        <a:t>Aguegues, So-Aya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</a:rPr>
                        <a:t>94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</a:rPr>
                        <a:t>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</a:rPr>
                        <a:t>0.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4244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 smtClean="0">
                          <a:effectLst/>
                        </a:rPr>
                        <a:t>Jan ‘15– 24 July’16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DRC</a:t>
                      </a:r>
                      <a:endParaRPr lang="en-US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</a:rPr>
                        <a:t>Nationwide, endemic spread to </a:t>
                      </a:r>
                      <a:r>
                        <a:rPr lang="en-US" sz="900" dirty="0" smtClean="0">
                          <a:effectLst/>
                        </a:rPr>
                        <a:t>7 new</a:t>
                      </a:r>
                      <a:r>
                        <a:rPr lang="en-US" sz="900" baseline="0" dirty="0" smtClean="0">
                          <a:effectLst/>
                        </a:rPr>
                        <a:t> provinces (</a:t>
                      </a:r>
                      <a:r>
                        <a:rPr lang="en-US" sz="900" baseline="0" dirty="0" err="1" smtClean="0">
                          <a:effectLst/>
                        </a:rPr>
                        <a:t>Lualaba</a:t>
                      </a:r>
                      <a:r>
                        <a:rPr lang="en-US" sz="900" baseline="0" dirty="0" smtClean="0">
                          <a:effectLst/>
                        </a:rPr>
                        <a:t>, Maniema, </a:t>
                      </a:r>
                      <a:r>
                        <a:rPr lang="en-US" sz="900" baseline="0" dirty="0" err="1" smtClean="0">
                          <a:effectLst/>
                        </a:rPr>
                        <a:t>Tshopo</a:t>
                      </a:r>
                      <a:r>
                        <a:rPr lang="en-US" sz="900" baseline="0" dirty="0" smtClean="0">
                          <a:effectLst/>
                        </a:rPr>
                        <a:t>, Kinshasa, </a:t>
                      </a:r>
                      <a:r>
                        <a:rPr lang="en-US" sz="900" baseline="0" dirty="0" err="1" smtClean="0">
                          <a:effectLst/>
                        </a:rPr>
                        <a:t>Mongala</a:t>
                      </a:r>
                      <a:r>
                        <a:rPr lang="en-US" sz="900" baseline="0" dirty="0" smtClean="0">
                          <a:effectLst/>
                        </a:rPr>
                        <a:t>, Equateur, and </a:t>
                      </a:r>
                      <a:r>
                        <a:rPr lang="en-US" sz="900" baseline="0" dirty="0" err="1" smtClean="0">
                          <a:effectLst/>
                        </a:rPr>
                        <a:t>Maindombe</a:t>
                      </a:r>
                      <a:r>
                        <a:rPr lang="en-US" sz="900" baseline="0" dirty="0" smtClean="0">
                          <a:effectLst/>
                        </a:rPr>
                        <a:t>)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 smtClean="0">
                          <a:effectLst/>
                        </a:rPr>
                        <a:t>33,992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 smtClean="0">
                          <a:effectLst/>
                        </a:rPr>
                        <a:t>653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 smtClean="0">
                          <a:effectLst/>
                        </a:rPr>
                        <a:t>1.9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50158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 smtClean="0">
                          <a:effectLst/>
                        </a:rPr>
                        <a:t>6 Nov’15- 31 July’16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</a:rPr>
                        <a:t>Ethiopia </a:t>
                      </a:r>
                      <a:endParaRPr lang="en-US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 smtClean="0">
                          <a:effectLst/>
                        </a:rPr>
                        <a:t>Oromia, Somali, Addis, SNNP, Afar, Amhara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 smtClean="0">
                          <a:effectLst/>
                        </a:rPr>
                        <a:t>9,155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 smtClean="0">
                          <a:effectLst/>
                        </a:rPr>
                        <a:t>49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 smtClean="0">
                          <a:effectLst/>
                        </a:rPr>
                        <a:t>0.5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50158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 smtClean="0">
                          <a:effectLst/>
                        </a:rPr>
                        <a:t>Jun’15-4 July’16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Kenya</a:t>
                      </a:r>
                      <a:endParaRPr lang="en-US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 smtClean="0">
                          <a:effectLst/>
                        </a:rPr>
                        <a:t>Nationwide, 2 </a:t>
                      </a:r>
                      <a:r>
                        <a:rPr lang="en-US" sz="900" dirty="0">
                          <a:effectLst/>
                        </a:rPr>
                        <a:t>counties active; </a:t>
                      </a:r>
                      <a:r>
                        <a:rPr lang="en-US" sz="900" dirty="0" err="1" smtClean="0">
                          <a:effectLst/>
                        </a:rPr>
                        <a:t>Tana</a:t>
                      </a:r>
                      <a:r>
                        <a:rPr lang="en-US" sz="900" dirty="0" smtClean="0">
                          <a:effectLst/>
                        </a:rPr>
                        <a:t> river and </a:t>
                      </a:r>
                      <a:r>
                        <a:rPr lang="en-US" sz="900" dirty="0" err="1" smtClean="0">
                          <a:effectLst/>
                        </a:rPr>
                        <a:t>Mandera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 smtClean="0">
                          <a:effectLst/>
                        </a:rPr>
                        <a:t>16,585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 smtClean="0">
                          <a:effectLst/>
                        </a:rPr>
                        <a:t>254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 smtClean="0">
                          <a:effectLst/>
                        </a:rPr>
                        <a:t>1.5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7607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</a:rPr>
                        <a:t>18Dec’15-20May’16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Malawi</a:t>
                      </a:r>
                      <a:endParaRPr lang="en-US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</a:rPr>
                        <a:t>Blantyre, </a:t>
                      </a:r>
                      <a:r>
                        <a:rPr lang="en-US" sz="900" dirty="0" err="1">
                          <a:effectLst/>
                        </a:rPr>
                        <a:t>Karonga</a:t>
                      </a:r>
                      <a:r>
                        <a:rPr lang="en-US" sz="900" dirty="0">
                          <a:effectLst/>
                        </a:rPr>
                        <a:t>, </a:t>
                      </a:r>
                      <a:r>
                        <a:rPr lang="en-US" sz="900" dirty="0" err="1">
                          <a:effectLst/>
                        </a:rPr>
                        <a:t>Kasungu</a:t>
                      </a:r>
                      <a:r>
                        <a:rPr lang="en-US" sz="900" dirty="0">
                          <a:effectLst/>
                        </a:rPr>
                        <a:t>, Lilongwe, </a:t>
                      </a:r>
                      <a:r>
                        <a:rPr lang="en-US" sz="900" dirty="0" err="1">
                          <a:effectLst/>
                        </a:rPr>
                        <a:t>Machinga</a:t>
                      </a:r>
                      <a:r>
                        <a:rPr lang="en-US" sz="900" dirty="0">
                          <a:effectLst/>
                        </a:rPr>
                        <a:t>, </a:t>
                      </a:r>
                      <a:r>
                        <a:rPr lang="en-US" sz="900" dirty="0" err="1">
                          <a:effectLst/>
                        </a:rPr>
                        <a:t>Mangochi</a:t>
                      </a:r>
                      <a:r>
                        <a:rPr lang="en-US" sz="900" dirty="0">
                          <a:effectLst/>
                        </a:rPr>
                        <a:t>, </a:t>
                      </a:r>
                      <a:r>
                        <a:rPr lang="en-US" sz="900" dirty="0" err="1">
                          <a:effectLst/>
                        </a:rPr>
                        <a:t>Mchinji</a:t>
                      </a:r>
                      <a:r>
                        <a:rPr lang="en-US" sz="900" dirty="0">
                          <a:effectLst/>
                        </a:rPr>
                        <a:t>, </a:t>
                      </a:r>
                      <a:r>
                        <a:rPr lang="en-US" sz="900" dirty="0" err="1">
                          <a:effectLst/>
                        </a:rPr>
                        <a:t>Nkhata</a:t>
                      </a:r>
                      <a:r>
                        <a:rPr lang="en-US" sz="900" dirty="0">
                          <a:effectLst/>
                        </a:rPr>
                        <a:t> Bay, </a:t>
                      </a:r>
                      <a:r>
                        <a:rPr lang="en-US" sz="900" dirty="0" err="1">
                          <a:effectLst/>
                        </a:rPr>
                        <a:t>Phalombe</a:t>
                      </a:r>
                      <a:r>
                        <a:rPr lang="en-US" sz="900" dirty="0">
                          <a:effectLst/>
                        </a:rPr>
                        <a:t>, </a:t>
                      </a:r>
                      <a:r>
                        <a:rPr lang="en-US" sz="900" dirty="0" err="1">
                          <a:effectLst/>
                        </a:rPr>
                        <a:t>Zomba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</a:rPr>
                        <a:t>1643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</a:rPr>
                        <a:t>43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</a:rPr>
                        <a:t>2.6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4244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</a:rPr>
                        <a:t>Aug’15-Jan’16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</a:rPr>
                        <a:t>Mozambique</a:t>
                      </a:r>
                      <a:endParaRPr lang="en-US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</a:rPr>
                        <a:t>Nampula, Niassa, Zambezia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</a:rPr>
                        <a:t>1433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</a:rPr>
                        <a:t>8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</a:rPr>
                        <a:t>0.6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4244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</a:rPr>
                        <a:t>7Sept’15-Apr’16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Nigeria</a:t>
                      </a:r>
                      <a:endParaRPr lang="en-US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</a:rPr>
                        <a:t>Borno, Jigawa, Kano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</a:rPr>
                        <a:t>1241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</a:rPr>
                        <a:t>19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</a:rPr>
                        <a:t>1.5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50158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</a:rPr>
                        <a:t>Jan’15-April’16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Somalia</a:t>
                      </a:r>
                      <a:endParaRPr lang="en-US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</a:rPr>
                        <a:t>Banadir, Bay, Lower and middle Juba, Lower and middle Shabelle, &amp; Hiraan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</a:rPr>
                        <a:t>7343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</a:rPr>
                        <a:t>366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</a:rPr>
                        <a:t>5.0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4244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</a:rPr>
                        <a:t>June </a:t>
                      </a:r>
                      <a:r>
                        <a:rPr lang="en-US" sz="900" dirty="0" smtClean="0">
                          <a:effectLst/>
                        </a:rPr>
                        <a:t>2015 -  1 August ‘16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S. Sudan</a:t>
                      </a:r>
                      <a:endParaRPr lang="en-US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 smtClean="0">
                          <a:effectLst/>
                        </a:rPr>
                        <a:t>Juba, </a:t>
                      </a:r>
                      <a:r>
                        <a:rPr lang="en-US" sz="900" dirty="0" err="1" smtClean="0">
                          <a:effectLst/>
                        </a:rPr>
                        <a:t>Terekeka</a:t>
                      </a:r>
                      <a:r>
                        <a:rPr lang="en-US" sz="900" dirty="0" smtClean="0">
                          <a:effectLst/>
                        </a:rPr>
                        <a:t>, and </a:t>
                      </a:r>
                      <a:r>
                        <a:rPr lang="en-US" sz="900" dirty="0" err="1" smtClean="0">
                          <a:effectLst/>
                        </a:rPr>
                        <a:t>Duk</a:t>
                      </a:r>
                      <a:r>
                        <a:rPr lang="en-US" sz="900" dirty="0" smtClean="0">
                          <a:effectLst/>
                        </a:rPr>
                        <a:t> counties in central </a:t>
                      </a:r>
                      <a:r>
                        <a:rPr lang="en-US" sz="900" dirty="0" err="1" smtClean="0">
                          <a:effectLst/>
                        </a:rPr>
                        <a:t>Equatoria</a:t>
                      </a:r>
                      <a:r>
                        <a:rPr lang="en-US" sz="900" dirty="0" smtClean="0">
                          <a:effectLst/>
                        </a:rPr>
                        <a:t> and </a:t>
                      </a:r>
                      <a:r>
                        <a:rPr lang="en-US" sz="900" dirty="0" err="1" smtClean="0">
                          <a:effectLst/>
                        </a:rPr>
                        <a:t>Jonglei</a:t>
                      </a:r>
                      <a:r>
                        <a:rPr lang="en-US" sz="900" dirty="0" smtClean="0">
                          <a:effectLst/>
                        </a:rPr>
                        <a:t> states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 smtClean="0">
                          <a:effectLst/>
                        </a:rPr>
                        <a:t>679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 smtClean="0">
                          <a:effectLst/>
                        </a:rPr>
                        <a:t>21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 smtClean="0">
                          <a:effectLst/>
                        </a:rPr>
                        <a:t>3.1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50158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 smtClean="0">
                          <a:effectLst/>
                        </a:rPr>
                        <a:t>21Aug’15-3 August’16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Tanzania</a:t>
                      </a:r>
                      <a:endParaRPr lang="en-US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 smtClean="0">
                          <a:effectLst/>
                        </a:rPr>
                        <a:t>Nationwide; 2 regions active, </a:t>
                      </a:r>
                      <a:r>
                        <a:rPr lang="en-US" sz="900" dirty="0" err="1" smtClean="0">
                          <a:effectLst/>
                        </a:rPr>
                        <a:t>Morogoro</a:t>
                      </a:r>
                      <a:r>
                        <a:rPr lang="en-US" sz="900" dirty="0" smtClean="0">
                          <a:effectLst/>
                        </a:rPr>
                        <a:t> and Zanzibar island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 smtClean="0">
                          <a:effectLst/>
                        </a:rPr>
                        <a:t>22,385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 smtClean="0">
                          <a:effectLst/>
                        </a:rPr>
                        <a:t>346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</a:rPr>
                        <a:t> </a:t>
                      </a:r>
                      <a:r>
                        <a:rPr lang="en-US" sz="900" dirty="0" smtClean="0">
                          <a:effectLst/>
                        </a:rPr>
                        <a:t>1.5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50158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</a:rPr>
                        <a:t>Oct15-Feb16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Uganda</a:t>
                      </a:r>
                      <a:endParaRPr lang="en-US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</a:rPr>
                        <a:t>Arua, Busia, Hoima, Kampala, Kasese, M</a:t>
                      </a:r>
                      <a:r>
                        <a:rPr lang="pt-PT" sz="900">
                          <a:effectLst/>
                        </a:rPr>
                        <a:t>bale, Moroto, Sironko, Wakiso, 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 dirty="0">
                          <a:effectLst/>
                        </a:rPr>
                        <a:t>1583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 dirty="0">
                          <a:effectLst/>
                        </a:rPr>
                        <a:t>148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PT" sz="900" dirty="0">
                          <a:effectLst/>
                        </a:rPr>
                        <a:t>9.3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4244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</a:rPr>
                        <a:t>4Feb-15Jun’16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Zambia</a:t>
                      </a:r>
                      <a:endParaRPr lang="en-US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</a:rPr>
                        <a:t>Lusaka, Central, Northern, Southern provinces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</a:rPr>
                        <a:t>1339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</a:rPr>
                        <a:t>29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</a:rPr>
                        <a:t>2.2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42447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</a:rPr>
                        <a:t>Total</a:t>
                      </a:r>
                      <a:endParaRPr lang="en-US" sz="10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 dirty="0" smtClean="0">
                          <a:effectLst/>
                        </a:rPr>
                        <a:t>97,472</a:t>
                      </a:r>
                      <a:endParaRPr lang="en-US" sz="10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 dirty="0" smtClean="0">
                          <a:effectLst/>
                        </a:rPr>
                        <a:t>1936</a:t>
                      </a:r>
                      <a:endParaRPr lang="en-US" sz="10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</a:rPr>
                        <a:t> </a:t>
                      </a:r>
                      <a:endParaRPr lang="en-US" sz="10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61269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gfEQMOG0u7qxM_xza1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a8VcNkG0KLhNFBj3ncr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heme/theme1.xml><?xml version="1.0" encoding="utf-8"?>
<a:theme xmlns:a="http://schemas.openxmlformats.org/drawingml/2006/main" name="mast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master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1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900" b="1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1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900" b="1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mas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232</TotalTime>
  <Words>2023</Words>
  <Application>Microsoft Office PowerPoint</Application>
  <PresentationFormat>On-screen Show (4:3)</PresentationFormat>
  <Paragraphs>286</Paragraphs>
  <Slides>30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40" baseType="lpstr">
      <vt:lpstr>Arial Unicode MS</vt:lpstr>
      <vt:lpstr>Arial</vt:lpstr>
      <vt:lpstr>Arial Black</vt:lpstr>
      <vt:lpstr>Arial Bold</vt:lpstr>
      <vt:lpstr>Arial Narrow</vt:lpstr>
      <vt:lpstr>Calibri</vt:lpstr>
      <vt:lpstr>Times New Roman</vt:lpstr>
      <vt:lpstr>Wingdings</vt:lpstr>
      <vt:lpstr>master</vt:lpstr>
      <vt:lpstr>think-cell Slide</vt:lpstr>
      <vt:lpstr>PowerPoint Presentation</vt:lpstr>
      <vt:lpstr>PowerPoint Presentation</vt:lpstr>
      <vt:lpstr>2015: public health events </vt:lpstr>
      <vt:lpstr>PowerPoint Presentation</vt:lpstr>
      <vt:lpstr>PowerPoint Presentation</vt:lpstr>
      <vt:lpstr>Yellow Fever-DR Congo</vt:lpstr>
      <vt:lpstr>Yellow Fever-Uganda</vt:lpstr>
      <vt:lpstr>Cholera</vt:lpstr>
      <vt:lpstr>Countries that reported cholera outbreaks to WHO  January 2015 to 3 August 2016</vt:lpstr>
      <vt:lpstr>Cholera Response</vt:lpstr>
      <vt:lpstr>Issues in cholera response</vt:lpstr>
      <vt:lpstr>Priority Actions -Cholera-1</vt:lpstr>
      <vt:lpstr>Priority Actions -Cholera-2</vt:lpstr>
      <vt:lpstr>                                Chikungunya-Kenya</vt:lpstr>
      <vt:lpstr>We need a regional strategy to guide member states &amp; partners</vt:lpstr>
      <vt:lpstr>Objectives</vt:lpstr>
      <vt:lpstr>Targets -1</vt:lpstr>
      <vt:lpstr>Targets-2</vt:lpstr>
      <vt:lpstr>Strategic Approaches</vt:lpstr>
      <vt:lpstr> </vt:lpstr>
      <vt:lpstr>Priority Strategic actions-1</vt:lpstr>
      <vt:lpstr>Priority Strategic actions-2</vt:lpstr>
      <vt:lpstr>Partnerships, Collaboration &amp; Advocacy</vt:lpstr>
      <vt:lpstr>What the world expects of WHO in emergencies?</vt:lpstr>
      <vt:lpstr>WHO’s new Health Emergencies Programme</vt:lpstr>
      <vt:lpstr>PowerPoint Presentation</vt:lpstr>
      <vt:lpstr>WHO's Roles in Health Emergency Risk Management</vt:lpstr>
      <vt:lpstr>A financially empowered &amp; sustainable WHO Health  Emergencies Programme</vt:lpstr>
      <vt:lpstr>Conclusion</vt:lpstr>
      <vt:lpstr>Thank You</vt:lpstr>
    </vt:vector>
  </TitlesOfParts>
  <Company>WHO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WHO RECOMMENDATIONS FOR THE USE OF ANTIRETROVIRAL DRUGS FOR TREATING AND PREVENTING HIV INFECTION;   IMPLICATIONS FOR THE AFRICAN REGION</dc:title>
  <dc:creator>LULE, Frank John</dc:creator>
  <cp:lastModifiedBy>Seblu Zenebe</cp:lastModifiedBy>
  <cp:revision>150</cp:revision>
  <cp:lastPrinted>2016-07-15T11:07:21Z</cp:lastPrinted>
  <dcterms:created xsi:type="dcterms:W3CDTF">2015-10-08T08:24:51Z</dcterms:created>
  <dcterms:modified xsi:type="dcterms:W3CDTF">2016-08-23T07:56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